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4120" r:id="rId4"/>
    <p:sldMasterId id="2147484164" r:id="rId5"/>
  </p:sldMasterIdLst>
  <p:notesMasterIdLst>
    <p:notesMasterId r:id="rId17"/>
  </p:notesMasterIdLst>
  <p:handoutMasterIdLst>
    <p:handoutMasterId r:id="rId18"/>
  </p:handoutMasterIdLst>
  <p:sldIdLst>
    <p:sldId id="2033" r:id="rId6"/>
    <p:sldId id="2043" r:id="rId7"/>
    <p:sldId id="2044" r:id="rId8"/>
    <p:sldId id="2049" r:id="rId9"/>
    <p:sldId id="2050" r:id="rId10"/>
    <p:sldId id="2051" r:id="rId11"/>
    <p:sldId id="2053" r:id="rId12"/>
    <p:sldId id="2034" r:id="rId13"/>
    <p:sldId id="2035" r:id="rId14"/>
    <p:sldId id="2045" r:id="rId15"/>
    <p:sldId id="2054" r:id="rId16"/>
  </p:sldIdLst>
  <p:sldSz cx="9144000" cy="6858000" type="screen4x3"/>
  <p:notesSz cx="6735763" cy="9866313"/>
  <p:custDataLst>
    <p:tags r:id="rId19"/>
  </p:custDataLst>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521415D9-36F7-43E2-AB2F-B90AF26B5E84}">
      <p14:sectionLst xmlns:p14="http://schemas.microsoft.com/office/powerpoint/2010/main">
        <p14:section name="応募様式ア" id="{CFD3A5E9-80B0-43FE-A3BA-635C0E5CCADD}">
          <p14:sldIdLst>
            <p14:sldId id="2033"/>
          </p14:sldIdLst>
        </p14:section>
        <p14:section name="申請者記載用" id="{CA9AADF2-D025-4569-AC6F-898840A27FFD}">
          <p14:sldIdLst>
            <p14:sldId id="2043"/>
            <p14:sldId id="2044"/>
          </p14:sldIdLst>
        </p14:section>
        <p14:section name="記載例（組織立ち上げ）" id="{0B33AA33-72AD-412E-9B4F-76E055A0D503}">
          <p14:sldIdLst>
            <p14:sldId id="2049"/>
            <p14:sldId id="2050"/>
            <p14:sldId id="2051"/>
            <p14:sldId id="2053"/>
          </p14:sldIdLst>
        </p14:section>
        <p14:section name="記載例（人材育成）" id="{17C07846-1206-4A74-B97C-B67FE7EEB264}">
          <p14:sldIdLst>
            <p14:sldId id="2034"/>
            <p14:sldId id="2035"/>
            <p14:sldId id="2045"/>
            <p14:sldId id="2054"/>
          </p14:sldIdLst>
        </p14:section>
      </p14:sectionLst>
    </p:ext>
    <p:ext uri="{EFAFB233-063F-42B5-8137-9DF3F51BA10A}">
      <p15:sldGuideLst xmlns:p15="http://schemas.microsoft.com/office/powerpoint/2012/main">
        <p15:guide id="1" orient="horz" pos="2205"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0C1622-2255-2AB1-836C-AC0DE3F8FF55}" name="福嶌 教郷" initials="福教" userId="S::fukushima-n27d@mlit.go.jp::8bd980a6-29b5-4983-b197-260211954fc1" providerId="AD"/>
  <p188:author id="{12217137-D0A1-C2DB-FA9D-202DB6926B30}" name="市野 将英" initials="市野" userId="S::ichino-m2kh@mlit.go.jp::b27183d3-b5d6-414f-bd89-95bcb938b306" providerId="AD"/>
  <p188:author id="{803AC751-351D-07A4-61AB-4FC2270A0DBE}" name="鈴木 貴大" initials="鈴木" userId="S::suzuki-t2kk@mlit.go.jp::ac4e1d48-c792-4254-b8f9-4757ac659dc9" providerId="AD"/>
  <p188:author id="{BFFE0E58-3FF4-8CA2-C310-3D3453B9DC26}" name="大塚 保洋" initials="大塚" userId="S::ohtsuka-y286@mlit.go.jp::0c87ee1d-05ef-4559-9373-7c956a566833" providerId="AD"/>
  <p188:author id="{DCBAFE60-D963-B058-E0FD-F1470C7F16ED}" name="片庭 浩輔" initials="片庭" userId="S::kataniwa-k2vs@mlit.go.jp::7ae26935-eee4-4ad7-89d0-13d84b39c106" providerId="AD"/>
  <p188:author id="{3EA86483-A24F-BBB1-3F2B-86D12250AED4}" name="松井 佑介" initials="松佑" userId="S::matsui-y2ef@mlit.go.jp::105ac29c-1bf6-4dc9-9f82-53a217aff1c2" providerId="AD"/>
  <p188:author id="{D4730398-C1F9-5EAA-4F80-37FF5345B49D}" name="片山　 竜之介" initials="片山　" userId="S::katayama-r24s@mlit.go.jp::239fe25c-b35b-4137-a548-54869c44918f" providerId="AD"/>
  <p188:author id="{10DD46B4-A5F6-EB9D-29A6-612991827AFD}" name="中明 愛" initials="中明" userId="S::nakamei-a2u6@mlit.go.jp::00ca1b33-09fb-4695-b32b-e68dc83fe186" providerId="AD"/>
  <p188:author id="{5688E1B7-EC29-01C3-4D5B-9CCCC36E6236}" name="江川 晃平" initials="江川" userId="S::egawa-k2y6@mlit.go.jp::729cc4d9-ed95-4705-9d8c-b48480223be0" providerId="AD"/>
  <p188:author id="{E7EF0EC9-F920-E9F9-55BD-BD3A411C7305}" name="酒井 皓平" initials="酒皓" userId="S::sakai-k56fc@mlit.go.jp::065d5461-b018-484e-9bef-109593c7fbe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8CE5A"/>
    <a:srgbClr val="4F81BD"/>
    <a:srgbClr val="FF0000"/>
    <a:srgbClr val="31859C"/>
    <a:srgbClr val="00B0F0"/>
    <a:srgbClr val="8EB4E3"/>
    <a:srgbClr val="FF7979"/>
    <a:srgbClr val="FFEDED"/>
    <a:srgbClr val="FEF4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732B81-8EB2-43D1-B311-BB0D7D01DDA7}" v="313" dt="2026-02-26T06:38:03.393"/>
    <p1510:client id="{316C5114-19AD-404B-A8D5-3C4812D4A7C7}" v="5" dt="2026-02-27T01:01:50.48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6" d="100"/>
          <a:sy n="116" d="100"/>
        </p:scale>
        <p:origin x="840" y="132"/>
      </p:cViewPr>
      <p:guideLst>
        <p:guide orient="horz" pos="2205"/>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o, Masahiro 4" userId="f2f839af-8092-499e-ad37-968b6e15735c" providerId="ADAL" clId="{D81E851F-9409-4059-817E-40A00BE6EDF8}"/>
    <pc:docChg chg="addSld modSld">
      <pc:chgData name="Kato, Masahiro 4" userId="f2f839af-8092-499e-ad37-968b6e15735c" providerId="ADAL" clId="{D81E851F-9409-4059-817E-40A00BE6EDF8}" dt="2025-12-18T06:35:42.890" v="101" actId="20577"/>
      <pc:docMkLst>
        <pc:docMk/>
      </pc:docMkLst>
      <pc:sldChg chg="modSp add mod">
        <pc:chgData name="Kato, Masahiro 4" userId="f2f839af-8092-499e-ad37-968b6e15735c" providerId="ADAL" clId="{D81E851F-9409-4059-817E-40A00BE6EDF8}" dt="2025-12-18T06:35:42.890" v="101" actId="20577"/>
        <pc:sldMkLst>
          <pc:docMk/>
          <pc:sldMk cId="2183642442" sldId="2032"/>
        </pc:sldMkLst>
      </pc:sldChg>
    </pc:docChg>
  </pc:docChgLst>
  <pc:docChgLst>
    <pc:chgData name="福田 稔樹" userId="9a1bc7fb-d030-45cd-8426-ba9ca6301bde" providerId="ADAL" clId="{D98365F3-3FD0-40D5-B557-80CB254BB869}"/>
    <pc:docChg chg="undo custSel modSld sldOrd modSection">
      <pc:chgData name="福田 稔樹" userId="9a1bc7fb-d030-45cd-8426-ba9ca6301bde" providerId="ADAL" clId="{D98365F3-3FD0-40D5-B557-80CB254BB869}" dt="2026-02-25T12:34:25.521" v="4647"/>
      <pc:docMkLst>
        <pc:docMk/>
      </pc:docMkLst>
      <pc:sldChg chg="addSp modSp mod ord">
        <pc:chgData name="福田 稔樹" userId="9a1bc7fb-d030-45cd-8426-ba9ca6301bde" providerId="ADAL" clId="{D98365F3-3FD0-40D5-B557-80CB254BB869}" dt="2026-02-24T18:07:15.719" v="3511" actId="1035"/>
        <pc:sldMkLst>
          <pc:docMk/>
          <pc:sldMk cId="2799762407" sldId="2034"/>
        </pc:sldMkLst>
        <pc:spChg chg="mod">
          <ac:chgData name="福田 稔樹" userId="9a1bc7fb-d030-45cd-8426-ba9ca6301bde" providerId="ADAL" clId="{D98365F3-3FD0-40D5-B557-80CB254BB869}" dt="2026-02-24T18:07:15.719" v="3511" actId="1035"/>
          <ac:spMkLst>
            <pc:docMk/>
            <pc:sldMk cId="2799762407" sldId="2034"/>
            <ac:spMk id="6" creationId="{59CB6F31-1AD3-2993-A7AE-DB45E3AE29F6}"/>
          </ac:spMkLst>
        </pc:spChg>
        <pc:spChg chg="mod">
          <ac:chgData name="福田 稔樹" userId="9a1bc7fb-d030-45cd-8426-ba9ca6301bde" providerId="ADAL" clId="{D98365F3-3FD0-40D5-B557-80CB254BB869}" dt="2026-02-24T18:06:42.637" v="3448" actId="14100"/>
          <ac:spMkLst>
            <pc:docMk/>
            <pc:sldMk cId="2799762407" sldId="2034"/>
            <ac:spMk id="14" creationId="{2684ED7B-F519-7A8A-5474-E8FA4C711FAD}"/>
          </ac:spMkLst>
        </pc:spChg>
        <pc:spChg chg="mod">
          <ac:chgData name="福田 稔樹" userId="9a1bc7fb-d030-45cd-8426-ba9ca6301bde" providerId="ADAL" clId="{D98365F3-3FD0-40D5-B557-80CB254BB869}" dt="2026-02-24T18:06:42.637" v="3448" actId="14100"/>
          <ac:spMkLst>
            <pc:docMk/>
            <pc:sldMk cId="2799762407" sldId="2034"/>
            <ac:spMk id="15" creationId="{8C9314B8-AFB1-1295-A4C6-1975601FF8AE}"/>
          </ac:spMkLst>
        </pc:spChg>
        <pc:spChg chg="mod">
          <ac:chgData name="福田 稔樹" userId="9a1bc7fb-d030-45cd-8426-ba9ca6301bde" providerId="ADAL" clId="{D98365F3-3FD0-40D5-B557-80CB254BB869}" dt="2026-02-24T18:06:42.637" v="3448" actId="14100"/>
          <ac:spMkLst>
            <pc:docMk/>
            <pc:sldMk cId="2799762407" sldId="2034"/>
            <ac:spMk id="18" creationId="{2C84AD6B-1206-626A-4383-9B5D5808E0BD}"/>
          </ac:spMkLst>
        </pc:spChg>
        <pc:spChg chg="mod">
          <ac:chgData name="福田 稔樹" userId="9a1bc7fb-d030-45cd-8426-ba9ca6301bde" providerId="ADAL" clId="{D98365F3-3FD0-40D5-B557-80CB254BB869}" dt="2026-02-24T18:07:15.719" v="3511" actId="1035"/>
          <ac:spMkLst>
            <pc:docMk/>
            <pc:sldMk cId="2799762407" sldId="2034"/>
            <ac:spMk id="21" creationId="{74459ACB-8440-A935-AFEF-A6E051ACE57A}"/>
          </ac:spMkLst>
        </pc:spChg>
        <pc:spChg chg="mod">
          <ac:chgData name="福田 稔樹" userId="9a1bc7fb-d030-45cd-8426-ba9ca6301bde" providerId="ADAL" clId="{D98365F3-3FD0-40D5-B557-80CB254BB869}" dt="2026-02-24T18:07:15.719" v="3511" actId="1035"/>
          <ac:spMkLst>
            <pc:docMk/>
            <pc:sldMk cId="2799762407" sldId="2034"/>
            <ac:spMk id="22" creationId="{D39E6EFE-B063-92EC-BA06-A870D3AEFFF1}"/>
          </ac:spMkLst>
        </pc:spChg>
        <pc:spChg chg="mod">
          <ac:chgData name="福田 稔樹" userId="9a1bc7fb-d030-45cd-8426-ba9ca6301bde" providerId="ADAL" clId="{D98365F3-3FD0-40D5-B557-80CB254BB869}" dt="2026-02-24T18:06:52.974" v="3463" actId="1036"/>
          <ac:spMkLst>
            <pc:docMk/>
            <pc:sldMk cId="2799762407" sldId="2034"/>
            <ac:spMk id="23" creationId="{1F6A52F2-6E92-A557-BCCE-0BB4C6F5FFE6}"/>
          </ac:spMkLst>
        </pc:spChg>
        <pc:spChg chg="mod">
          <ac:chgData name="福田 稔樹" userId="9a1bc7fb-d030-45cd-8426-ba9ca6301bde" providerId="ADAL" clId="{D98365F3-3FD0-40D5-B557-80CB254BB869}" dt="2026-02-24T18:06:52.974" v="3463" actId="1036"/>
          <ac:spMkLst>
            <pc:docMk/>
            <pc:sldMk cId="2799762407" sldId="2034"/>
            <ac:spMk id="24" creationId="{6AEB0DA2-DA34-84B7-D341-6350FEECC867}"/>
          </ac:spMkLst>
        </pc:spChg>
        <pc:spChg chg="mod">
          <ac:chgData name="福田 稔樹" userId="9a1bc7fb-d030-45cd-8426-ba9ca6301bde" providerId="ADAL" clId="{D98365F3-3FD0-40D5-B557-80CB254BB869}" dt="2026-02-24T18:06:52.974" v="3463" actId="1036"/>
          <ac:spMkLst>
            <pc:docMk/>
            <pc:sldMk cId="2799762407" sldId="2034"/>
            <ac:spMk id="25" creationId="{7700CF1D-AA9E-3565-2469-0920F7D09258}"/>
          </ac:spMkLst>
        </pc:spChg>
        <pc:spChg chg="mod">
          <ac:chgData name="福田 稔樹" userId="9a1bc7fb-d030-45cd-8426-ba9ca6301bde" providerId="ADAL" clId="{D98365F3-3FD0-40D5-B557-80CB254BB869}" dt="2026-02-24T18:07:00.099" v="3477" actId="1035"/>
          <ac:spMkLst>
            <pc:docMk/>
            <pc:sldMk cId="2799762407" sldId="2034"/>
            <ac:spMk id="27" creationId="{A774D522-4D67-92AE-D61C-BA4DE4EC2EE4}"/>
          </ac:spMkLst>
        </pc:spChg>
        <pc:spChg chg="mod">
          <ac:chgData name="福田 稔樹" userId="9a1bc7fb-d030-45cd-8426-ba9ca6301bde" providerId="ADAL" clId="{D98365F3-3FD0-40D5-B557-80CB254BB869}" dt="2026-02-24T18:07:00.099" v="3477" actId="1035"/>
          <ac:spMkLst>
            <pc:docMk/>
            <pc:sldMk cId="2799762407" sldId="2034"/>
            <ac:spMk id="28" creationId="{B2EDC647-266E-F8ED-FA44-4CB76A8CBBC4}"/>
          </ac:spMkLst>
        </pc:spChg>
        <pc:spChg chg="mod">
          <ac:chgData name="福田 稔樹" userId="9a1bc7fb-d030-45cd-8426-ba9ca6301bde" providerId="ADAL" clId="{D98365F3-3FD0-40D5-B557-80CB254BB869}" dt="2026-02-24T18:07:00.099" v="3477" actId="1035"/>
          <ac:spMkLst>
            <pc:docMk/>
            <pc:sldMk cId="2799762407" sldId="2034"/>
            <ac:spMk id="34" creationId="{443DDD8D-8D5C-05D7-41B1-2619D3F4CEE2}"/>
          </ac:spMkLst>
        </pc:spChg>
        <pc:spChg chg="mod">
          <ac:chgData name="福田 稔樹" userId="9a1bc7fb-d030-45cd-8426-ba9ca6301bde" providerId="ADAL" clId="{D98365F3-3FD0-40D5-B557-80CB254BB869}" dt="2026-02-24T18:07:00.099" v="3477" actId="1035"/>
          <ac:spMkLst>
            <pc:docMk/>
            <pc:sldMk cId="2799762407" sldId="2034"/>
            <ac:spMk id="35" creationId="{236C9DF8-D010-7A1C-9FAB-1FB9079039AA}"/>
          </ac:spMkLst>
        </pc:spChg>
        <pc:spChg chg="mod">
          <ac:chgData name="福田 稔樹" userId="9a1bc7fb-d030-45cd-8426-ba9ca6301bde" providerId="ADAL" clId="{D98365F3-3FD0-40D5-B557-80CB254BB869}" dt="2026-02-24T18:07:00.099" v="3477" actId="1035"/>
          <ac:spMkLst>
            <pc:docMk/>
            <pc:sldMk cId="2799762407" sldId="2034"/>
            <ac:spMk id="40" creationId="{1E2F49BA-85BC-2C12-F2AE-5D8495A4A293}"/>
          </ac:spMkLst>
        </pc:spChg>
      </pc:sldChg>
      <pc:sldChg chg="delSp modSp mod ord">
        <pc:chgData name="福田 稔樹" userId="9a1bc7fb-d030-45cd-8426-ba9ca6301bde" providerId="ADAL" clId="{D98365F3-3FD0-40D5-B557-80CB254BB869}" dt="2026-02-24T18:12:23.812" v="3815" actId="20577"/>
        <pc:sldMkLst>
          <pc:docMk/>
          <pc:sldMk cId="1942732370" sldId="2035"/>
        </pc:sldMkLst>
        <pc:spChg chg="mod">
          <ac:chgData name="福田 稔樹" userId="9a1bc7fb-d030-45cd-8426-ba9ca6301bde" providerId="ADAL" clId="{D98365F3-3FD0-40D5-B557-80CB254BB869}" dt="2026-02-24T18:03:40.040" v="3264" actId="1035"/>
          <ac:spMkLst>
            <pc:docMk/>
            <pc:sldMk cId="1942732370" sldId="2035"/>
            <ac:spMk id="8" creationId="{FCBB4B86-123D-7368-1E76-DFB27692C527}"/>
          </ac:spMkLst>
        </pc:spChg>
        <pc:spChg chg="mod">
          <ac:chgData name="福田 稔樹" userId="9a1bc7fb-d030-45cd-8426-ba9ca6301bde" providerId="ADAL" clId="{D98365F3-3FD0-40D5-B557-80CB254BB869}" dt="2026-02-24T18:04:23.587" v="3331" actId="1036"/>
          <ac:spMkLst>
            <pc:docMk/>
            <pc:sldMk cId="1942732370" sldId="2035"/>
            <ac:spMk id="9" creationId="{DE5D045B-62BC-21DC-2FFE-5DBF975FCDFD}"/>
          </ac:spMkLst>
        </pc:spChg>
        <pc:spChg chg="mod">
          <ac:chgData name="福田 稔樹" userId="9a1bc7fb-d030-45cd-8426-ba9ca6301bde" providerId="ADAL" clId="{D98365F3-3FD0-40D5-B557-80CB254BB869}" dt="2026-02-24T18:03:40.040" v="3264" actId="1035"/>
          <ac:spMkLst>
            <pc:docMk/>
            <pc:sldMk cId="1942732370" sldId="2035"/>
            <ac:spMk id="10" creationId="{63B935BE-9226-6BE8-F7C0-73915F8EA73A}"/>
          </ac:spMkLst>
        </pc:spChg>
        <pc:spChg chg="mod">
          <ac:chgData name="福田 稔樹" userId="9a1bc7fb-d030-45cd-8426-ba9ca6301bde" providerId="ADAL" clId="{D98365F3-3FD0-40D5-B557-80CB254BB869}" dt="2026-02-24T18:03:40.040" v="3264" actId="1035"/>
          <ac:spMkLst>
            <pc:docMk/>
            <pc:sldMk cId="1942732370" sldId="2035"/>
            <ac:spMk id="11" creationId="{7CF9D943-55CC-A4F4-71B4-229A4F0B0898}"/>
          </ac:spMkLst>
        </pc:spChg>
        <pc:spChg chg="mod">
          <ac:chgData name="福田 稔樹" userId="9a1bc7fb-d030-45cd-8426-ba9ca6301bde" providerId="ADAL" clId="{D98365F3-3FD0-40D5-B557-80CB254BB869}" dt="2026-02-24T18:04:39.579" v="3336" actId="14100"/>
          <ac:spMkLst>
            <pc:docMk/>
            <pc:sldMk cId="1942732370" sldId="2035"/>
            <ac:spMk id="13" creationId="{4F8CF523-042E-B68E-BE63-2DBEC5F6560A}"/>
          </ac:spMkLst>
        </pc:spChg>
        <pc:spChg chg="mod">
          <ac:chgData name="福田 稔樹" userId="9a1bc7fb-d030-45cd-8426-ba9ca6301bde" providerId="ADAL" clId="{D98365F3-3FD0-40D5-B557-80CB254BB869}" dt="2026-02-24T18:04:39.579" v="3336" actId="14100"/>
          <ac:spMkLst>
            <pc:docMk/>
            <pc:sldMk cId="1942732370" sldId="2035"/>
            <ac:spMk id="16" creationId="{FD1CD3D1-55AF-17DC-B177-DF84C19B54E2}"/>
          </ac:spMkLst>
        </pc:spChg>
        <pc:spChg chg="mod">
          <ac:chgData name="福田 稔樹" userId="9a1bc7fb-d030-45cd-8426-ba9ca6301bde" providerId="ADAL" clId="{D98365F3-3FD0-40D5-B557-80CB254BB869}" dt="2026-02-24T18:04:39.579" v="3336" actId="14100"/>
          <ac:spMkLst>
            <pc:docMk/>
            <pc:sldMk cId="1942732370" sldId="2035"/>
            <ac:spMk id="20" creationId="{4D665395-0B85-6ED3-6B3D-4E01CA6D1B3F}"/>
          </ac:spMkLst>
        </pc:spChg>
        <pc:spChg chg="mod">
          <ac:chgData name="福田 稔樹" userId="9a1bc7fb-d030-45cd-8426-ba9ca6301bde" providerId="ADAL" clId="{D98365F3-3FD0-40D5-B557-80CB254BB869}" dt="2026-02-24T18:04:23.587" v="3331" actId="1036"/>
          <ac:spMkLst>
            <pc:docMk/>
            <pc:sldMk cId="1942732370" sldId="2035"/>
            <ac:spMk id="23" creationId="{2D78B4C1-2A7D-3131-ECA6-4F889511590E}"/>
          </ac:spMkLst>
        </pc:spChg>
        <pc:spChg chg="mod">
          <ac:chgData name="福田 稔樹" userId="9a1bc7fb-d030-45cd-8426-ba9ca6301bde" providerId="ADAL" clId="{D98365F3-3FD0-40D5-B557-80CB254BB869}" dt="2026-02-24T18:04:23.587" v="3331" actId="1036"/>
          <ac:spMkLst>
            <pc:docMk/>
            <pc:sldMk cId="1942732370" sldId="2035"/>
            <ac:spMk id="24" creationId="{F0ECE2E0-9DA1-AE52-FA9B-0853F16A1902}"/>
          </ac:spMkLst>
        </pc:spChg>
        <pc:spChg chg="mod">
          <ac:chgData name="福田 稔樹" userId="9a1bc7fb-d030-45cd-8426-ba9ca6301bde" providerId="ADAL" clId="{D98365F3-3FD0-40D5-B557-80CB254BB869}" dt="2026-02-24T18:06:05.863" v="3428" actId="554"/>
          <ac:spMkLst>
            <pc:docMk/>
            <pc:sldMk cId="1942732370" sldId="2035"/>
            <ac:spMk id="29" creationId="{A86E5D5F-6AE3-C475-D974-D3DE735CE84E}"/>
          </ac:spMkLst>
        </pc:spChg>
        <pc:spChg chg="mod">
          <ac:chgData name="福田 稔樹" userId="9a1bc7fb-d030-45cd-8426-ba9ca6301bde" providerId="ADAL" clId="{D98365F3-3FD0-40D5-B557-80CB254BB869}" dt="2026-02-24T18:12:23.812" v="3815" actId="20577"/>
          <ac:spMkLst>
            <pc:docMk/>
            <pc:sldMk cId="1942732370" sldId="2035"/>
            <ac:spMk id="30" creationId="{84E13CD4-5630-1956-7BE9-AA9E2D27AA63}"/>
          </ac:spMkLst>
        </pc:spChg>
        <pc:spChg chg="mod">
          <ac:chgData name="福田 稔樹" userId="9a1bc7fb-d030-45cd-8426-ba9ca6301bde" providerId="ADAL" clId="{D98365F3-3FD0-40D5-B557-80CB254BB869}" dt="2026-02-24T18:04:23.587" v="3331" actId="1036"/>
          <ac:spMkLst>
            <pc:docMk/>
            <pc:sldMk cId="1942732370" sldId="2035"/>
            <ac:spMk id="31" creationId="{FC9AAC06-B512-18B7-A930-FB1DE7B66039}"/>
          </ac:spMkLst>
        </pc:spChg>
        <pc:spChg chg="mod">
          <ac:chgData name="福田 稔樹" userId="9a1bc7fb-d030-45cd-8426-ba9ca6301bde" providerId="ADAL" clId="{D98365F3-3FD0-40D5-B557-80CB254BB869}" dt="2026-02-24T18:04:23.587" v="3331" actId="1036"/>
          <ac:spMkLst>
            <pc:docMk/>
            <pc:sldMk cId="1942732370" sldId="2035"/>
            <ac:spMk id="32" creationId="{EFFFF08E-72D1-C8A9-1A8F-FA8EF2D3DCE1}"/>
          </ac:spMkLst>
        </pc:spChg>
        <pc:spChg chg="mod">
          <ac:chgData name="福田 稔樹" userId="9a1bc7fb-d030-45cd-8426-ba9ca6301bde" providerId="ADAL" clId="{D98365F3-3FD0-40D5-B557-80CB254BB869}" dt="2026-02-24T18:06:05.863" v="3428" actId="554"/>
          <ac:spMkLst>
            <pc:docMk/>
            <pc:sldMk cId="1942732370" sldId="2035"/>
            <ac:spMk id="40" creationId="{42F7121C-581F-0FB0-6C4F-29DF0E3BCD33}"/>
          </ac:spMkLst>
        </pc:spChg>
        <pc:spChg chg="mod">
          <ac:chgData name="福田 稔樹" userId="9a1bc7fb-d030-45cd-8426-ba9ca6301bde" providerId="ADAL" clId="{D98365F3-3FD0-40D5-B557-80CB254BB869}" dt="2026-02-24T18:04:23.587" v="3331" actId="1036"/>
          <ac:spMkLst>
            <pc:docMk/>
            <pc:sldMk cId="1942732370" sldId="2035"/>
            <ac:spMk id="41" creationId="{8AFDBBFF-3B95-FF9C-C99A-4B83C4111EAB}"/>
          </ac:spMkLst>
        </pc:spChg>
      </pc:sldChg>
      <pc:sldChg chg="addSp modSp mod">
        <pc:chgData name="福田 稔樹" userId="9a1bc7fb-d030-45cd-8426-ba9ca6301bde" providerId="ADAL" clId="{D98365F3-3FD0-40D5-B557-80CB254BB869}" dt="2026-02-24T10:08:10.469" v="1605" actId="1035"/>
        <pc:sldMkLst>
          <pc:docMk/>
          <pc:sldMk cId="829252687" sldId="2043"/>
        </pc:sldMkLst>
        <pc:graphicFrameChg chg="mod modGraphic">
          <ac:chgData name="福田 稔樹" userId="9a1bc7fb-d030-45cd-8426-ba9ca6301bde" providerId="ADAL" clId="{D98365F3-3FD0-40D5-B557-80CB254BB869}" dt="2026-02-24T10:08:05.293" v="1572" actId="14100"/>
          <ac:graphicFrameMkLst>
            <pc:docMk/>
            <pc:sldMk cId="829252687" sldId="2043"/>
            <ac:graphicFrameMk id="6" creationId="{0AD80AD7-F16B-8361-5D3E-899F2019AF15}"/>
          </ac:graphicFrameMkLst>
        </pc:graphicFrameChg>
      </pc:sldChg>
      <pc:sldChg chg="addSp delSp modSp mod ord">
        <pc:chgData name="福田 稔樹" userId="9a1bc7fb-d030-45cd-8426-ba9ca6301bde" providerId="ADAL" clId="{D98365F3-3FD0-40D5-B557-80CB254BB869}" dt="2026-02-24T18:16:24.695" v="3907" actId="1035"/>
        <pc:sldMkLst>
          <pc:docMk/>
          <pc:sldMk cId="2206337066" sldId="2045"/>
        </pc:sldMkLst>
        <pc:spChg chg="mod">
          <ac:chgData name="福田 稔樹" userId="9a1bc7fb-d030-45cd-8426-ba9ca6301bde" providerId="ADAL" clId="{D98365F3-3FD0-40D5-B557-80CB254BB869}" dt="2026-02-24T17:36:46.748" v="2245" actId="1037"/>
          <ac:spMkLst>
            <pc:docMk/>
            <pc:sldMk cId="2206337066" sldId="2045"/>
            <ac:spMk id="6" creationId="{1F48F448-5AF3-DBF0-A760-89D273E45E9C}"/>
          </ac:spMkLst>
        </pc:spChg>
        <pc:spChg chg="mod">
          <ac:chgData name="福田 稔樹" userId="9a1bc7fb-d030-45cd-8426-ba9ca6301bde" providerId="ADAL" clId="{D98365F3-3FD0-40D5-B557-80CB254BB869}" dt="2026-02-24T17:24:09.737" v="2027" actId="1035"/>
          <ac:spMkLst>
            <pc:docMk/>
            <pc:sldMk cId="2206337066" sldId="2045"/>
            <ac:spMk id="7" creationId="{F39C56F9-E232-6FAD-E271-D29E1B529082}"/>
          </ac:spMkLst>
        </pc:spChg>
        <pc:spChg chg="mod">
          <ac:chgData name="福田 稔樹" userId="9a1bc7fb-d030-45cd-8426-ba9ca6301bde" providerId="ADAL" clId="{D98365F3-3FD0-40D5-B557-80CB254BB869}" dt="2026-02-20T16:34:10.227" v="257" actId="20577"/>
          <ac:spMkLst>
            <pc:docMk/>
            <pc:sldMk cId="2206337066" sldId="2045"/>
            <ac:spMk id="8" creationId="{4D48DB26-2315-5EA1-6E3E-6139705BF42D}"/>
          </ac:spMkLst>
        </pc:spChg>
        <pc:spChg chg="mod">
          <ac:chgData name="福田 稔樹" userId="9a1bc7fb-d030-45cd-8426-ba9ca6301bde" providerId="ADAL" clId="{D98365F3-3FD0-40D5-B557-80CB254BB869}" dt="2026-02-24T17:25:51.475" v="2121" actId="1038"/>
          <ac:spMkLst>
            <pc:docMk/>
            <pc:sldMk cId="2206337066" sldId="2045"/>
            <ac:spMk id="9" creationId="{347C63FD-3F27-AA9E-2A36-868CDE7B4E0A}"/>
          </ac:spMkLst>
        </pc:spChg>
        <pc:spChg chg="mod">
          <ac:chgData name="福田 稔樹" userId="9a1bc7fb-d030-45cd-8426-ba9ca6301bde" providerId="ADAL" clId="{D98365F3-3FD0-40D5-B557-80CB254BB869}" dt="2026-02-24T17:52:45.542" v="2875" actId="20577"/>
          <ac:spMkLst>
            <pc:docMk/>
            <pc:sldMk cId="2206337066" sldId="2045"/>
            <ac:spMk id="10" creationId="{253F7D1B-E2AA-FF20-77C8-C1E3663DAC4F}"/>
          </ac:spMkLst>
        </pc:spChg>
        <pc:spChg chg="mod">
          <ac:chgData name="福田 稔樹" userId="9a1bc7fb-d030-45cd-8426-ba9ca6301bde" providerId="ADAL" clId="{D98365F3-3FD0-40D5-B557-80CB254BB869}" dt="2026-02-24T17:58:17.247" v="3067" actId="1036"/>
          <ac:spMkLst>
            <pc:docMk/>
            <pc:sldMk cId="2206337066" sldId="2045"/>
            <ac:spMk id="11" creationId="{321CB4B4-C5C0-3F76-39E3-5A5759EEF6DB}"/>
          </ac:spMkLst>
        </pc:spChg>
        <pc:spChg chg="add mod">
          <ac:chgData name="福田 稔樹" userId="9a1bc7fb-d030-45cd-8426-ba9ca6301bde" providerId="ADAL" clId="{D98365F3-3FD0-40D5-B557-80CB254BB869}" dt="2026-02-24T17:25:34.977" v="2090" actId="1035"/>
          <ac:spMkLst>
            <pc:docMk/>
            <pc:sldMk cId="2206337066" sldId="2045"/>
            <ac:spMk id="16" creationId="{A3E2CA0D-0742-2E18-6A47-7114E043B308}"/>
          </ac:spMkLst>
        </pc:spChg>
        <pc:spChg chg="add mod">
          <ac:chgData name="福田 稔樹" userId="9a1bc7fb-d030-45cd-8426-ba9ca6301bde" providerId="ADAL" clId="{D98365F3-3FD0-40D5-B557-80CB254BB869}" dt="2026-02-24T17:36:51.045" v="2255" actId="1037"/>
          <ac:spMkLst>
            <pc:docMk/>
            <pc:sldMk cId="2206337066" sldId="2045"/>
            <ac:spMk id="18" creationId="{7170001B-C7BD-731A-C2F8-29DCB1C3F879}"/>
          </ac:spMkLst>
        </pc:spChg>
        <pc:spChg chg="add mod">
          <ac:chgData name="福田 稔樹" userId="9a1bc7fb-d030-45cd-8426-ba9ca6301bde" providerId="ADAL" clId="{D98365F3-3FD0-40D5-B557-80CB254BB869}" dt="2026-02-24T18:16:24.695" v="3907" actId="1035"/>
          <ac:spMkLst>
            <pc:docMk/>
            <pc:sldMk cId="2206337066" sldId="2045"/>
            <ac:spMk id="19" creationId="{70655089-C22E-1EE4-6F68-B206036D0154}"/>
          </ac:spMkLst>
        </pc:spChg>
        <pc:spChg chg="mod">
          <ac:chgData name="福田 稔樹" userId="9a1bc7fb-d030-45cd-8426-ba9ca6301bde" providerId="ADAL" clId="{D98365F3-3FD0-40D5-B557-80CB254BB869}" dt="2026-02-24T17:23:51.455" v="1966" actId="1035"/>
          <ac:spMkLst>
            <pc:docMk/>
            <pc:sldMk cId="2206337066" sldId="2045"/>
            <ac:spMk id="43" creationId="{FC694465-EA88-D34E-0602-599AA3054AD7}"/>
          </ac:spMkLst>
        </pc:spChg>
        <pc:spChg chg="mod">
          <ac:chgData name="福田 稔樹" userId="9a1bc7fb-d030-45cd-8426-ba9ca6301bde" providerId="ADAL" clId="{D98365F3-3FD0-40D5-B557-80CB254BB869}" dt="2026-02-24T17:25:34.977" v="2090" actId="1035"/>
          <ac:spMkLst>
            <pc:docMk/>
            <pc:sldMk cId="2206337066" sldId="2045"/>
            <ac:spMk id="45" creationId="{333F8956-FCB1-DB4B-C29A-38DCC73EABE1}"/>
          </ac:spMkLst>
        </pc:spChg>
        <pc:spChg chg="mod">
          <ac:chgData name="福田 稔樹" userId="9a1bc7fb-d030-45cd-8426-ba9ca6301bde" providerId="ADAL" clId="{D98365F3-3FD0-40D5-B557-80CB254BB869}" dt="2026-02-24T17:58:24.510" v="3081" actId="1036"/>
          <ac:spMkLst>
            <pc:docMk/>
            <pc:sldMk cId="2206337066" sldId="2045"/>
            <ac:spMk id="52" creationId="{31CAB318-2888-D004-8A02-AF563D1B21ED}"/>
          </ac:spMkLst>
        </pc:spChg>
      </pc:sldChg>
      <pc:sldChg chg="ord">
        <pc:chgData name="福田 稔樹" userId="9a1bc7fb-d030-45cd-8426-ba9ca6301bde" providerId="ADAL" clId="{D98365F3-3FD0-40D5-B557-80CB254BB869}" dt="2026-02-24T10:32:19.979" v="1612"/>
        <pc:sldMkLst>
          <pc:docMk/>
          <pc:sldMk cId="3182320730" sldId="2046"/>
        </pc:sldMkLst>
      </pc:sldChg>
      <pc:sldChg chg="modSp mod">
        <pc:chgData name="福田 稔樹" userId="9a1bc7fb-d030-45cd-8426-ba9ca6301bde" providerId="ADAL" clId="{D98365F3-3FD0-40D5-B557-80CB254BB869}" dt="2026-02-25T12:34:25.521" v="4647"/>
        <pc:sldMkLst>
          <pc:docMk/>
          <pc:sldMk cId="316286736" sldId="2049"/>
        </pc:sldMkLst>
        <pc:spChg chg="mod">
          <ac:chgData name="福田 稔樹" userId="9a1bc7fb-d030-45cd-8426-ba9ca6301bde" providerId="ADAL" clId="{D98365F3-3FD0-40D5-B557-80CB254BB869}" dt="2026-02-25T12:34:25.521" v="4647"/>
          <ac:spMkLst>
            <pc:docMk/>
            <pc:sldMk cId="316286736" sldId="2049"/>
            <ac:spMk id="21" creationId="{E41E36C4-F282-D8D5-1CF6-DD28156D7020}"/>
          </ac:spMkLst>
        </pc:spChg>
        <pc:spChg chg="mod">
          <ac:chgData name="福田 稔樹" userId="9a1bc7fb-d030-45cd-8426-ba9ca6301bde" providerId="ADAL" clId="{D98365F3-3FD0-40D5-B557-80CB254BB869}" dt="2026-02-25T01:47:28.420" v="3912" actId="947"/>
          <ac:spMkLst>
            <pc:docMk/>
            <pc:sldMk cId="316286736" sldId="2049"/>
            <ac:spMk id="28" creationId="{CD29DC75-A87F-DDED-9513-BF5C59385653}"/>
          </ac:spMkLst>
        </pc:spChg>
        <pc:spChg chg="mod">
          <ac:chgData name="福田 稔樹" userId="9a1bc7fb-d030-45cd-8426-ba9ca6301bde" providerId="ADAL" clId="{D98365F3-3FD0-40D5-B557-80CB254BB869}" dt="2026-02-24T08:53:43.065" v="422" actId="20577"/>
          <ac:spMkLst>
            <pc:docMk/>
            <pc:sldMk cId="316286736" sldId="2049"/>
            <ac:spMk id="35" creationId="{AEA6276A-4E5C-88A2-DAF3-138E86CC5B46}"/>
          </ac:spMkLst>
        </pc:spChg>
      </pc:sldChg>
      <pc:sldChg chg="addSp modSp mod">
        <pc:chgData name="福田 稔樹" userId="9a1bc7fb-d030-45cd-8426-ba9ca6301bde" providerId="ADAL" clId="{D98365F3-3FD0-40D5-B557-80CB254BB869}" dt="2026-02-25T12:26:57.812" v="4628"/>
        <pc:sldMkLst>
          <pc:docMk/>
          <pc:sldMk cId="2048520626" sldId="2050"/>
        </pc:sldMkLst>
        <pc:spChg chg="mod">
          <ac:chgData name="福田 稔樹" userId="9a1bc7fb-d030-45cd-8426-ba9ca6301bde" providerId="ADAL" clId="{D98365F3-3FD0-40D5-B557-80CB254BB869}" dt="2026-02-24T17:42:36.269" v="2599" actId="14100"/>
          <ac:spMkLst>
            <pc:docMk/>
            <pc:sldMk cId="2048520626" sldId="2050"/>
            <ac:spMk id="8" creationId="{9E7B8BEA-DF74-B9F4-DF1F-020CD5ABE4BB}"/>
          </ac:spMkLst>
        </pc:spChg>
        <pc:spChg chg="mod">
          <ac:chgData name="福田 稔樹" userId="9a1bc7fb-d030-45cd-8426-ba9ca6301bde" providerId="ADAL" clId="{D98365F3-3FD0-40D5-B557-80CB254BB869}" dt="2026-02-24T17:42:58.246" v="2641" actId="1037"/>
          <ac:spMkLst>
            <pc:docMk/>
            <pc:sldMk cId="2048520626" sldId="2050"/>
            <ac:spMk id="9" creationId="{BB16184B-58DF-F6C4-E7AC-35041ED84526}"/>
          </ac:spMkLst>
        </pc:spChg>
        <pc:spChg chg="mod">
          <ac:chgData name="福田 稔樹" userId="9a1bc7fb-d030-45cd-8426-ba9ca6301bde" providerId="ADAL" clId="{D98365F3-3FD0-40D5-B557-80CB254BB869}" dt="2026-02-24T17:42:43.747" v="2612" actId="1037"/>
          <ac:spMkLst>
            <pc:docMk/>
            <pc:sldMk cId="2048520626" sldId="2050"/>
            <ac:spMk id="10" creationId="{91533C29-D9E5-5886-6EA6-93DB7D93B7F8}"/>
          </ac:spMkLst>
        </pc:spChg>
        <pc:spChg chg="mod">
          <ac:chgData name="福田 稔樹" userId="9a1bc7fb-d030-45cd-8426-ba9ca6301bde" providerId="ADAL" clId="{D98365F3-3FD0-40D5-B557-80CB254BB869}" dt="2026-02-24T17:42:58.246" v="2641" actId="1037"/>
          <ac:spMkLst>
            <pc:docMk/>
            <pc:sldMk cId="2048520626" sldId="2050"/>
            <ac:spMk id="11" creationId="{18247926-9F0C-315A-A247-8A6E41AA7BA0}"/>
          </ac:spMkLst>
        </pc:spChg>
        <pc:spChg chg="mod">
          <ac:chgData name="福田 稔樹" userId="9a1bc7fb-d030-45cd-8426-ba9ca6301bde" providerId="ADAL" clId="{D98365F3-3FD0-40D5-B557-80CB254BB869}" dt="2026-02-24T17:42:43.747" v="2612" actId="1037"/>
          <ac:spMkLst>
            <pc:docMk/>
            <pc:sldMk cId="2048520626" sldId="2050"/>
            <ac:spMk id="13" creationId="{C9931644-291F-A6A4-AF42-672A29DB4842}"/>
          </ac:spMkLst>
        </pc:spChg>
        <pc:spChg chg="mod">
          <ac:chgData name="福田 稔樹" userId="9a1bc7fb-d030-45cd-8426-ba9ca6301bde" providerId="ADAL" clId="{D98365F3-3FD0-40D5-B557-80CB254BB869}" dt="2026-02-24T17:42:58.246" v="2641" actId="1037"/>
          <ac:spMkLst>
            <pc:docMk/>
            <pc:sldMk cId="2048520626" sldId="2050"/>
            <ac:spMk id="16" creationId="{3F3FB79F-C016-97E1-CB93-87F766A25BD4}"/>
          </ac:spMkLst>
        </pc:spChg>
        <pc:spChg chg="mod">
          <ac:chgData name="福田 稔樹" userId="9a1bc7fb-d030-45cd-8426-ba9ca6301bde" providerId="ADAL" clId="{D98365F3-3FD0-40D5-B557-80CB254BB869}" dt="2026-02-24T17:42:36.269" v="2599" actId="14100"/>
          <ac:spMkLst>
            <pc:docMk/>
            <pc:sldMk cId="2048520626" sldId="2050"/>
            <ac:spMk id="20" creationId="{B04B1ABD-C880-4FEE-6AEF-A53B94B6C5D3}"/>
          </ac:spMkLst>
        </pc:spChg>
        <pc:spChg chg="mod">
          <ac:chgData name="福田 稔樹" userId="9a1bc7fb-d030-45cd-8426-ba9ca6301bde" providerId="ADAL" clId="{D98365F3-3FD0-40D5-B557-80CB254BB869}" dt="2026-02-24T17:42:43.747" v="2612" actId="1037"/>
          <ac:spMkLst>
            <pc:docMk/>
            <pc:sldMk cId="2048520626" sldId="2050"/>
            <ac:spMk id="23" creationId="{39EBC534-CA99-F174-E4E2-BCE633B826B7}"/>
          </ac:spMkLst>
        </pc:spChg>
        <pc:spChg chg="mod">
          <ac:chgData name="福田 稔樹" userId="9a1bc7fb-d030-45cd-8426-ba9ca6301bde" providerId="ADAL" clId="{D98365F3-3FD0-40D5-B557-80CB254BB869}" dt="2026-02-24T17:42:36.269" v="2599" actId="14100"/>
          <ac:spMkLst>
            <pc:docMk/>
            <pc:sldMk cId="2048520626" sldId="2050"/>
            <ac:spMk id="24" creationId="{3AF49A19-0226-4121-1404-0FEAEBBAB2D0}"/>
          </ac:spMkLst>
        </pc:spChg>
        <pc:spChg chg="mod">
          <ac:chgData name="福田 稔樹" userId="9a1bc7fb-d030-45cd-8426-ba9ca6301bde" providerId="ADAL" clId="{D98365F3-3FD0-40D5-B557-80CB254BB869}" dt="2026-02-24T17:42:43.747" v="2612" actId="1037"/>
          <ac:spMkLst>
            <pc:docMk/>
            <pc:sldMk cId="2048520626" sldId="2050"/>
            <ac:spMk id="29" creationId="{BD168CE9-183E-EF59-3FE6-75B37CD88F4D}"/>
          </ac:spMkLst>
        </pc:spChg>
        <pc:spChg chg="mod">
          <ac:chgData name="福田 稔樹" userId="9a1bc7fb-d030-45cd-8426-ba9ca6301bde" providerId="ADAL" clId="{D98365F3-3FD0-40D5-B557-80CB254BB869}" dt="2026-02-25T12:26:57.812" v="4628"/>
          <ac:spMkLst>
            <pc:docMk/>
            <pc:sldMk cId="2048520626" sldId="2050"/>
            <ac:spMk id="30" creationId="{294708EF-DF87-F3AA-D2CD-3270E245D58F}"/>
          </ac:spMkLst>
        </pc:spChg>
        <pc:spChg chg="mod">
          <ac:chgData name="福田 稔樹" userId="9a1bc7fb-d030-45cd-8426-ba9ca6301bde" providerId="ADAL" clId="{D98365F3-3FD0-40D5-B557-80CB254BB869}" dt="2026-02-24T17:42:43.747" v="2612" actId="1037"/>
          <ac:spMkLst>
            <pc:docMk/>
            <pc:sldMk cId="2048520626" sldId="2050"/>
            <ac:spMk id="31" creationId="{2DDB0F87-D1C1-68EE-D339-A3CC5CFDDB94}"/>
          </ac:spMkLst>
        </pc:spChg>
        <pc:spChg chg="mod">
          <ac:chgData name="福田 稔樹" userId="9a1bc7fb-d030-45cd-8426-ba9ca6301bde" providerId="ADAL" clId="{D98365F3-3FD0-40D5-B557-80CB254BB869}" dt="2026-02-24T17:42:58.246" v="2641" actId="1037"/>
          <ac:spMkLst>
            <pc:docMk/>
            <pc:sldMk cId="2048520626" sldId="2050"/>
            <ac:spMk id="32" creationId="{3F2B71A5-4CBB-244D-EA8A-0B6643C2D6F0}"/>
          </ac:spMkLst>
        </pc:spChg>
        <pc:spChg chg="mod">
          <ac:chgData name="福田 稔樹" userId="9a1bc7fb-d030-45cd-8426-ba9ca6301bde" providerId="ADAL" clId="{D98365F3-3FD0-40D5-B557-80CB254BB869}" dt="2026-02-24T17:42:36.269" v="2599" actId="14100"/>
          <ac:spMkLst>
            <pc:docMk/>
            <pc:sldMk cId="2048520626" sldId="2050"/>
            <ac:spMk id="40" creationId="{0ED63584-DCF6-525A-98A4-8D720D6F9892}"/>
          </ac:spMkLst>
        </pc:spChg>
        <pc:spChg chg="mod">
          <ac:chgData name="福田 稔樹" userId="9a1bc7fb-d030-45cd-8426-ba9ca6301bde" providerId="ADAL" clId="{D98365F3-3FD0-40D5-B557-80CB254BB869}" dt="2026-02-24T17:42:36.269" v="2599" actId="14100"/>
          <ac:spMkLst>
            <pc:docMk/>
            <pc:sldMk cId="2048520626" sldId="2050"/>
            <ac:spMk id="41" creationId="{46243CBB-3205-4CB3-55B6-2BE8D90B9090}"/>
          </ac:spMkLst>
        </pc:spChg>
      </pc:sldChg>
      <pc:sldChg chg="modSp mod">
        <pc:chgData name="福田 稔樹" userId="9a1bc7fb-d030-45cd-8426-ba9ca6301bde" providerId="ADAL" clId="{D98365F3-3FD0-40D5-B557-80CB254BB869}" dt="2026-02-25T12:34:18.699" v="4646" actId="20577"/>
        <pc:sldMkLst>
          <pc:docMk/>
          <pc:sldMk cId="779528774" sldId="2051"/>
        </pc:sldMkLst>
        <pc:spChg chg="mod">
          <ac:chgData name="福田 稔樹" userId="9a1bc7fb-d030-45cd-8426-ba9ca6301bde" providerId="ADAL" clId="{D98365F3-3FD0-40D5-B557-80CB254BB869}" dt="2026-02-25T12:34:18.699" v="4646" actId="20577"/>
          <ac:spMkLst>
            <pc:docMk/>
            <pc:sldMk cId="779528774" sldId="2051"/>
            <ac:spMk id="10" creationId="{6EF118C2-C194-179C-F664-B75E0BA0EEC1}"/>
          </ac:spMkLst>
        </pc:spChg>
        <pc:spChg chg="mod">
          <ac:chgData name="福田 稔樹" userId="9a1bc7fb-d030-45cd-8426-ba9ca6301bde" providerId="ADAL" clId="{D98365F3-3FD0-40D5-B557-80CB254BB869}" dt="2026-02-24T09:48:02.666" v="1526" actId="20577"/>
          <ac:spMkLst>
            <pc:docMk/>
            <pc:sldMk cId="779528774" sldId="2051"/>
            <ac:spMk id="13" creationId="{ECA57F48-656B-47D0-373D-14C48A32D6C4}"/>
          </ac:spMkLst>
        </pc:spChg>
        <pc:spChg chg="mod">
          <ac:chgData name="福田 稔樹" userId="9a1bc7fb-d030-45cd-8426-ba9ca6301bde" providerId="ADAL" clId="{D98365F3-3FD0-40D5-B557-80CB254BB869}" dt="2026-02-25T12:26:50.562" v="4627"/>
          <ac:spMkLst>
            <pc:docMk/>
            <pc:sldMk cId="779528774" sldId="2051"/>
            <ac:spMk id="20" creationId="{246DA7F3-FCE0-9730-3E87-5199F6F4B391}"/>
          </ac:spMkLst>
        </pc:spChg>
        <pc:spChg chg="mod">
          <ac:chgData name="福田 稔樹" userId="9a1bc7fb-d030-45cd-8426-ba9ca6301bde" providerId="ADAL" clId="{D98365F3-3FD0-40D5-B557-80CB254BB869}" dt="2026-02-24T09:22:19.959" v="1471" actId="1035"/>
          <ac:spMkLst>
            <pc:docMk/>
            <pc:sldMk cId="779528774" sldId="2051"/>
            <ac:spMk id="52" creationId="{CF262509-766B-73DE-D818-463E3823C7AF}"/>
          </ac:spMkLst>
        </pc:spChg>
      </pc:sldChg>
      <pc:sldChg chg="delSp modSp mod">
        <pc:chgData name="福田 稔樹" userId="9a1bc7fb-d030-45cd-8426-ba9ca6301bde" providerId="ADAL" clId="{D98365F3-3FD0-40D5-B557-80CB254BB869}" dt="2026-02-24T17:47:25.564" v="2827" actId="20577"/>
        <pc:sldMkLst>
          <pc:docMk/>
          <pc:sldMk cId="586329683" sldId="2053"/>
        </pc:sldMkLst>
        <pc:spChg chg="mod">
          <ac:chgData name="福田 稔樹" userId="9a1bc7fb-d030-45cd-8426-ba9ca6301bde" providerId="ADAL" clId="{D98365F3-3FD0-40D5-B557-80CB254BB869}" dt="2026-02-24T09:19:37.266" v="1350" actId="1038"/>
          <ac:spMkLst>
            <pc:docMk/>
            <pc:sldMk cId="586329683" sldId="2053"/>
            <ac:spMk id="11" creationId="{0AE5BA20-E939-4738-3B4D-B5C7258C1A51}"/>
          </ac:spMkLst>
        </pc:spChg>
        <pc:spChg chg="mod">
          <ac:chgData name="福田 稔樹" userId="9a1bc7fb-d030-45cd-8426-ba9ca6301bde" providerId="ADAL" clId="{D98365F3-3FD0-40D5-B557-80CB254BB869}" dt="2026-02-24T09:19:37.266" v="1350" actId="1038"/>
          <ac:spMkLst>
            <pc:docMk/>
            <pc:sldMk cId="586329683" sldId="2053"/>
            <ac:spMk id="17" creationId="{316AE0C3-08A2-DCF9-512B-A6ACA78EEB39}"/>
          </ac:spMkLst>
        </pc:spChg>
        <pc:spChg chg="mod">
          <ac:chgData name="福田 稔樹" userId="9a1bc7fb-d030-45cd-8426-ba9ca6301bde" providerId="ADAL" clId="{D98365F3-3FD0-40D5-B557-80CB254BB869}" dt="2026-02-24T09:19:37.266" v="1350" actId="1038"/>
          <ac:spMkLst>
            <pc:docMk/>
            <pc:sldMk cId="586329683" sldId="2053"/>
            <ac:spMk id="18" creationId="{3E1A8D5D-5890-6F5E-CDAC-93A2CAD372D8}"/>
          </ac:spMkLst>
        </pc:spChg>
        <pc:spChg chg="mod">
          <ac:chgData name="福田 稔樹" userId="9a1bc7fb-d030-45cd-8426-ba9ca6301bde" providerId="ADAL" clId="{D98365F3-3FD0-40D5-B557-80CB254BB869}" dt="2026-02-24T17:12:50.138" v="1918" actId="404"/>
          <ac:spMkLst>
            <pc:docMk/>
            <pc:sldMk cId="586329683" sldId="2053"/>
            <ac:spMk id="20" creationId="{2AB49C2F-6AEE-6352-4F29-DD39B645793B}"/>
          </ac:spMkLst>
        </pc:spChg>
        <pc:spChg chg="mod">
          <ac:chgData name="福田 稔樹" userId="9a1bc7fb-d030-45cd-8426-ba9ca6301bde" providerId="ADAL" clId="{D98365F3-3FD0-40D5-B557-80CB254BB869}" dt="2026-02-24T17:47:25.564" v="2827" actId="20577"/>
          <ac:spMkLst>
            <pc:docMk/>
            <pc:sldMk cId="586329683" sldId="2053"/>
            <ac:spMk id="24" creationId="{166D1285-0C1D-C89A-09E4-63E03676FB1B}"/>
          </ac:spMkLst>
        </pc:spChg>
        <pc:spChg chg="mod">
          <ac:chgData name="福田 稔樹" userId="9a1bc7fb-d030-45cd-8426-ba9ca6301bde" providerId="ADAL" clId="{D98365F3-3FD0-40D5-B557-80CB254BB869}" dt="2026-02-24T17:13:05.722" v="1921" actId="404"/>
          <ac:spMkLst>
            <pc:docMk/>
            <pc:sldMk cId="586329683" sldId="2053"/>
            <ac:spMk id="25" creationId="{9E229D80-7D1F-B81D-4598-4309F25B46AB}"/>
          </ac:spMkLst>
        </pc:spChg>
        <pc:spChg chg="mod">
          <ac:chgData name="福田 稔樹" userId="9a1bc7fb-d030-45cd-8426-ba9ca6301bde" providerId="ADAL" clId="{D98365F3-3FD0-40D5-B557-80CB254BB869}" dt="2026-02-24T17:47:17.053" v="2811" actId="14100"/>
          <ac:spMkLst>
            <pc:docMk/>
            <pc:sldMk cId="586329683" sldId="2053"/>
            <ac:spMk id="27" creationId="{ACEB70F6-A0E8-B424-4231-E0249635591C}"/>
          </ac:spMkLst>
        </pc:spChg>
        <pc:spChg chg="mod">
          <ac:chgData name="福田 稔樹" userId="9a1bc7fb-d030-45cd-8426-ba9ca6301bde" providerId="ADAL" clId="{D98365F3-3FD0-40D5-B557-80CB254BB869}" dt="2026-02-24T17:47:09.942" v="2810" actId="1036"/>
          <ac:spMkLst>
            <pc:docMk/>
            <pc:sldMk cId="586329683" sldId="2053"/>
            <ac:spMk id="28" creationId="{6352E770-6704-3EC8-6335-3F2B4AE9A27F}"/>
          </ac:spMkLst>
        </pc:spChg>
        <pc:grpChg chg="mod topLvl">
          <ac:chgData name="福田 稔樹" userId="9a1bc7fb-d030-45cd-8426-ba9ca6301bde" providerId="ADAL" clId="{D98365F3-3FD0-40D5-B557-80CB254BB869}" dt="2026-02-24T17:47:09.942" v="2810" actId="1036"/>
          <ac:grpSpMkLst>
            <pc:docMk/>
            <pc:sldMk cId="586329683" sldId="2053"/>
            <ac:grpSpMk id="5" creationId="{AB6E7948-029C-35A9-71F7-8038D93B9862}"/>
          </ac:grpSpMkLst>
        </pc:grpChg>
        <pc:cxnChg chg="mod">
          <ac:chgData name="福田 稔樹" userId="9a1bc7fb-d030-45cd-8426-ba9ca6301bde" providerId="ADAL" clId="{D98365F3-3FD0-40D5-B557-80CB254BB869}" dt="2026-02-24T17:47:09.942" v="2810" actId="1036"/>
          <ac:cxnSpMkLst>
            <pc:docMk/>
            <pc:sldMk cId="586329683" sldId="2053"/>
            <ac:cxnSpMk id="6" creationId="{BA671051-B2F6-92FB-897B-161AD0F0F8AD}"/>
          </ac:cxnSpMkLst>
        </pc:cxnChg>
      </pc:sldChg>
      <pc:sldChg chg="addSp modSp mod ord">
        <pc:chgData name="福田 稔樹" userId="9a1bc7fb-d030-45cd-8426-ba9ca6301bde" providerId="ADAL" clId="{D98365F3-3FD0-40D5-B557-80CB254BB869}" dt="2026-02-24T18:12:58.530" v="3902" actId="20577"/>
        <pc:sldMkLst>
          <pc:docMk/>
          <pc:sldMk cId="2069976121" sldId="2054"/>
        </pc:sldMkLst>
        <pc:spChg chg="mod">
          <ac:chgData name="福田 稔樹" userId="9a1bc7fb-d030-45cd-8426-ba9ca6301bde" providerId="ADAL" clId="{D98365F3-3FD0-40D5-B557-80CB254BB869}" dt="2026-02-24T18:10:29.367" v="3671" actId="1036"/>
          <ac:spMkLst>
            <pc:docMk/>
            <pc:sldMk cId="2069976121" sldId="2054"/>
            <ac:spMk id="6" creationId="{C413BA5C-594F-2300-D410-F70E3B48E49C}"/>
          </ac:spMkLst>
        </pc:spChg>
        <pc:spChg chg="add mod">
          <ac:chgData name="福田 稔樹" userId="9a1bc7fb-d030-45cd-8426-ba9ca6301bde" providerId="ADAL" clId="{D98365F3-3FD0-40D5-B557-80CB254BB869}" dt="2026-02-24T18:09:06.538" v="3609" actId="20577"/>
          <ac:spMkLst>
            <pc:docMk/>
            <pc:sldMk cId="2069976121" sldId="2054"/>
            <ac:spMk id="11" creationId="{4CD4F1BF-CAC1-27AB-B905-16FA2234225D}"/>
          </ac:spMkLst>
        </pc:spChg>
        <pc:spChg chg="mod">
          <ac:chgData name="福田 稔樹" userId="9a1bc7fb-d030-45cd-8426-ba9ca6301bde" providerId="ADAL" clId="{D98365F3-3FD0-40D5-B557-80CB254BB869}" dt="2026-02-24T18:10:29.367" v="3671" actId="1036"/>
          <ac:spMkLst>
            <pc:docMk/>
            <pc:sldMk cId="2069976121" sldId="2054"/>
            <ac:spMk id="17" creationId="{61D4F04B-3072-576E-10AB-6286ECFAF872}"/>
          </ac:spMkLst>
        </pc:spChg>
        <pc:spChg chg="mod">
          <ac:chgData name="福田 稔樹" userId="9a1bc7fb-d030-45cd-8426-ba9ca6301bde" providerId="ADAL" clId="{D98365F3-3FD0-40D5-B557-80CB254BB869}" dt="2026-02-24T18:10:34.383" v="3688" actId="1036"/>
          <ac:spMkLst>
            <pc:docMk/>
            <pc:sldMk cId="2069976121" sldId="2054"/>
            <ac:spMk id="18" creationId="{3828B32A-1676-FE9F-F8A9-03AC8326092F}"/>
          </ac:spMkLst>
        </pc:spChg>
        <pc:spChg chg="add mod">
          <ac:chgData name="福田 稔樹" userId="9a1bc7fb-d030-45cd-8426-ba9ca6301bde" providerId="ADAL" clId="{D98365F3-3FD0-40D5-B557-80CB254BB869}" dt="2026-02-24T18:12:31.755" v="3836" actId="1038"/>
          <ac:spMkLst>
            <pc:docMk/>
            <pc:sldMk cId="2069976121" sldId="2054"/>
            <ac:spMk id="19" creationId="{A2F1C025-D9A8-600E-7848-FD9E9AB6B77C}"/>
          </ac:spMkLst>
        </pc:spChg>
        <pc:spChg chg="mod">
          <ac:chgData name="福田 稔樹" userId="9a1bc7fb-d030-45cd-8426-ba9ca6301bde" providerId="ADAL" clId="{D98365F3-3FD0-40D5-B557-80CB254BB869}" dt="2026-02-24T18:10:29.367" v="3671" actId="1036"/>
          <ac:spMkLst>
            <pc:docMk/>
            <pc:sldMk cId="2069976121" sldId="2054"/>
            <ac:spMk id="23" creationId="{95AEEAA5-038B-3D74-D71F-72C793819E20}"/>
          </ac:spMkLst>
        </pc:spChg>
        <pc:spChg chg="mod">
          <ac:chgData name="福田 稔樹" userId="9a1bc7fb-d030-45cd-8426-ba9ca6301bde" providerId="ADAL" clId="{D98365F3-3FD0-40D5-B557-80CB254BB869}" dt="2026-02-24T18:09:57.578" v="3614" actId="20577"/>
          <ac:spMkLst>
            <pc:docMk/>
            <pc:sldMk cId="2069976121" sldId="2054"/>
            <ac:spMk id="25" creationId="{883B2BC7-5620-E543-F385-1ED3562844B4}"/>
          </ac:spMkLst>
        </pc:spChg>
        <pc:spChg chg="mod">
          <ac:chgData name="福田 稔樹" userId="9a1bc7fb-d030-45cd-8426-ba9ca6301bde" providerId="ADAL" clId="{D98365F3-3FD0-40D5-B557-80CB254BB869}" dt="2026-02-24T18:10:00.940" v="3619" actId="20577"/>
          <ac:spMkLst>
            <pc:docMk/>
            <pc:sldMk cId="2069976121" sldId="2054"/>
            <ac:spMk id="26" creationId="{76259BD6-700D-1C87-0681-82B095FFC074}"/>
          </ac:spMkLst>
        </pc:spChg>
        <pc:spChg chg="mod">
          <ac:chgData name="福田 稔樹" userId="9a1bc7fb-d030-45cd-8426-ba9ca6301bde" providerId="ADAL" clId="{D98365F3-3FD0-40D5-B557-80CB254BB869}" dt="2026-02-24T18:10:36.540" v="3701" actId="1036"/>
          <ac:spMkLst>
            <pc:docMk/>
            <pc:sldMk cId="2069976121" sldId="2054"/>
            <ac:spMk id="28" creationId="{9E81E623-04E7-FAC7-C300-5046B01DF80A}"/>
          </ac:spMkLst>
        </pc:spChg>
        <pc:spChg chg="add mod">
          <ac:chgData name="福田 稔樹" userId="9a1bc7fb-d030-45cd-8426-ba9ca6301bde" providerId="ADAL" clId="{D98365F3-3FD0-40D5-B557-80CB254BB869}" dt="2026-02-24T18:12:58.530" v="3902" actId="20577"/>
          <ac:spMkLst>
            <pc:docMk/>
            <pc:sldMk cId="2069976121" sldId="2054"/>
            <ac:spMk id="29" creationId="{42AD886A-D99F-1D3E-81E7-0C8F8F9D904F}"/>
          </ac:spMkLst>
        </pc:spChg>
        <pc:spChg chg="mod">
          <ac:chgData name="福田 稔樹" userId="9a1bc7fb-d030-45cd-8426-ba9ca6301bde" providerId="ADAL" clId="{D98365F3-3FD0-40D5-B557-80CB254BB869}" dt="2026-02-24T18:10:29.367" v="3671" actId="1036"/>
          <ac:spMkLst>
            <pc:docMk/>
            <pc:sldMk cId="2069976121" sldId="2054"/>
            <ac:spMk id="54" creationId="{4CEEE4A6-82E6-91DF-0984-BCF02A48A13B}"/>
          </ac:spMkLst>
        </pc:spChg>
        <pc:spChg chg="mod">
          <ac:chgData name="福田 稔樹" userId="9a1bc7fb-d030-45cd-8426-ba9ca6301bde" providerId="ADAL" clId="{D98365F3-3FD0-40D5-B557-80CB254BB869}" dt="2026-02-24T18:10:29.367" v="3671" actId="1036"/>
          <ac:spMkLst>
            <pc:docMk/>
            <pc:sldMk cId="2069976121" sldId="2054"/>
            <ac:spMk id="62" creationId="{F4E1F247-26DE-BB31-CAB4-3AB047232397}"/>
          </ac:spMkLst>
        </pc:spChg>
        <pc:spChg chg="mod">
          <ac:chgData name="福田 稔樹" userId="9a1bc7fb-d030-45cd-8426-ba9ca6301bde" providerId="ADAL" clId="{D98365F3-3FD0-40D5-B557-80CB254BB869}" dt="2026-02-24T18:10:29.367" v="3671" actId="1036"/>
          <ac:spMkLst>
            <pc:docMk/>
            <pc:sldMk cId="2069976121" sldId="2054"/>
            <ac:spMk id="63" creationId="{5001578A-BF41-F852-058C-0604EE9E3016}"/>
          </ac:spMkLst>
        </pc:spChg>
        <pc:grpChg chg="mod">
          <ac:chgData name="福田 稔樹" userId="9a1bc7fb-d030-45cd-8426-ba9ca6301bde" providerId="ADAL" clId="{D98365F3-3FD0-40D5-B557-80CB254BB869}" dt="2026-02-24T18:08:14.465" v="3530" actId="1036"/>
          <ac:grpSpMkLst>
            <pc:docMk/>
            <pc:sldMk cId="2069976121" sldId="2054"/>
            <ac:grpSpMk id="27" creationId="{5478EC83-9C5B-0744-5A83-634EDBDEED28}"/>
          </ac:grpSpMkLst>
        </pc:grpChg>
        <pc:cxnChg chg="mod">
          <ac:chgData name="福田 稔樹" userId="9a1bc7fb-d030-45cd-8426-ba9ca6301bde" providerId="ADAL" clId="{D98365F3-3FD0-40D5-B557-80CB254BB869}" dt="2026-02-24T18:10:21.853" v="3654" actId="1036"/>
          <ac:cxnSpMkLst>
            <pc:docMk/>
            <pc:sldMk cId="2069976121" sldId="2054"/>
            <ac:cxnSpMk id="7" creationId="{89E4C52A-CFAC-A790-9D72-13D5142F73D0}"/>
          </ac:cxnSpMkLst>
        </pc:cxnChg>
        <pc:cxnChg chg="mod">
          <ac:chgData name="福田 稔樹" userId="9a1bc7fb-d030-45cd-8426-ba9ca6301bde" providerId="ADAL" clId="{D98365F3-3FD0-40D5-B557-80CB254BB869}" dt="2026-02-24T18:10:21.853" v="3654" actId="1036"/>
          <ac:cxnSpMkLst>
            <pc:docMk/>
            <pc:sldMk cId="2069976121" sldId="2054"/>
            <ac:cxnSpMk id="15" creationId="{140CB892-EF20-2B41-D051-5637E4FFD1A7}"/>
          </ac:cxnSpMkLst>
        </pc:cxnChg>
        <pc:cxnChg chg="add mod">
          <ac:chgData name="福田 稔樹" userId="9a1bc7fb-d030-45cd-8426-ba9ca6301bde" providerId="ADAL" clId="{D98365F3-3FD0-40D5-B557-80CB254BB869}" dt="2026-02-24T18:12:36.632" v="3858" actId="1037"/>
          <ac:cxnSpMkLst>
            <pc:docMk/>
            <pc:sldMk cId="2069976121" sldId="2054"/>
            <ac:cxnSpMk id="16" creationId="{67D23B5B-BE68-D419-831E-1886956A7918}"/>
          </ac:cxnSpMkLst>
        </pc:cxnChg>
        <pc:cxnChg chg="add mod">
          <ac:chgData name="福田 稔樹" userId="9a1bc7fb-d030-45cd-8426-ba9ca6301bde" providerId="ADAL" clId="{D98365F3-3FD0-40D5-B557-80CB254BB869}" dt="2026-02-24T18:12:47.633" v="3884" actId="14100"/>
          <ac:cxnSpMkLst>
            <pc:docMk/>
            <pc:sldMk cId="2069976121" sldId="2054"/>
            <ac:cxnSpMk id="21" creationId="{B4874262-68E6-3189-BE25-1CFC8DEE52BC}"/>
          </ac:cxnSpMkLst>
        </pc:cxnChg>
      </pc:sldChg>
    </pc:docChg>
  </pc:docChgLst>
  <pc:docChgLst>
    <pc:chgData name="Kato, Masahiro 4" userId="f2f839af-8092-499e-ad37-968b6e15735c" providerId="ADAL" clId="{CB298CC7-B719-46AB-9635-4790933FF64B}"/>
    <pc:docChg chg="modSld sldOrd">
      <pc:chgData name="Kato, Masahiro 4" userId="f2f839af-8092-499e-ad37-968b6e15735c" providerId="ADAL" clId="{CB298CC7-B719-46AB-9635-4790933FF64B}" dt="2025-12-19T10:27:27.275" v="3"/>
      <pc:docMkLst>
        <pc:docMk/>
      </pc:docMkLst>
      <pc:sldChg chg="ord">
        <pc:chgData name="Kato, Masahiro 4" userId="f2f839af-8092-499e-ad37-968b6e15735c" providerId="ADAL" clId="{CB298CC7-B719-46AB-9635-4790933FF64B}" dt="2025-12-19T10:27:27.275" v="3"/>
        <pc:sldMkLst>
          <pc:docMk/>
          <pc:sldMk cId="2183642442" sldId="2032"/>
        </pc:sldMkLst>
      </pc:sldChg>
    </pc:docChg>
  </pc:docChgLst>
  <pc:docChgLst>
    <pc:chgData name="Hashi, Shota" userId="8379f7e9-b024-438c-a61e-ac1eb77e539d" providerId="ADAL" clId="{9B60814B-D0C1-45F4-A74C-03607FF0ECB4}"/>
    <pc:docChg chg="undo modSld">
      <pc:chgData name="Hashi, Shota" userId="8379f7e9-b024-438c-a61e-ac1eb77e539d" providerId="ADAL" clId="{9B60814B-D0C1-45F4-A74C-03607FF0ECB4}" dt="2025-12-16T06:17:02.825" v="1" actId="1076"/>
      <pc:docMkLst>
        <pc:docMk/>
      </pc:docMkLst>
      <pc:sldChg chg="modSp mod">
        <pc:chgData name="Hashi, Shota" userId="8379f7e9-b024-438c-a61e-ac1eb77e539d" providerId="ADAL" clId="{9B60814B-D0C1-45F4-A74C-03607FF0ECB4}" dt="2025-12-16T06:17:02.825" v="1" actId="1076"/>
        <pc:sldMkLst>
          <pc:docMk/>
          <pc:sldMk cId="826555675" sldId="2027"/>
        </pc:sldMkLst>
      </pc:sldChg>
    </pc:docChg>
  </pc:docChgLst>
  <pc:docChgLst>
    <pc:chgData name="Kimura, Kan 4" userId="1a3672aa-9e57-4429-af19-76604e5d9622" providerId="ADAL" clId="{A502B40F-E972-46F9-BFFA-638914C389CA}"/>
    <pc:docChg chg="undo custSel addSld modSld sldOrd modSection">
      <pc:chgData name="Kimura, Kan 4" userId="1a3672aa-9e57-4429-af19-76604e5d9622" providerId="ADAL" clId="{A502B40F-E972-46F9-BFFA-638914C389CA}" dt="2026-02-19T09:50:03.507" v="3352" actId="1035"/>
      <pc:docMkLst>
        <pc:docMk/>
      </pc:docMkLst>
      <pc:sldChg chg="addSp delSp modSp mod">
        <pc:chgData name="Kimura, Kan 4" userId="1a3672aa-9e57-4429-af19-76604e5d9622" providerId="ADAL" clId="{A502B40F-E972-46F9-BFFA-638914C389CA}" dt="2026-02-19T09:36:28.275" v="3155"/>
        <pc:sldMkLst>
          <pc:docMk/>
          <pc:sldMk cId="2799762407" sldId="2034"/>
        </pc:sldMkLst>
        <pc:spChg chg="add mod">
          <ac:chgData name="Kimura, Kan 4" userId="1a3672aa-9e57-4429-af19-76604e5d9622" providerId="ADAL" clId="{A502B40F-E972-46F9-BFFA-638914C389CA}" dt="2026-02-19T09:35:42.884" v="3088" actId="14100"/>
          <ac:spMkLst>
            <pc:docMk/>
            <pc:sldMk cId="2799762407" sldId="2034"/>
            <ac:spMk id="6" creationId="{59CB6F31-1AD3-2993-A7AE-DB45E3AE29F6}"/>
          </ac:spMkLst>
        </pc:spChg>
        <pc:spChg chg="add del mod">
          <ac:chgData name="Kimura, Kan 4" userId="1a3672aa-9e57-4429-af19-76604e5d9622" providerId="ADAL" clId="{A502B40F-E972-46F9-BFFA-638914C389CA}" dt="2026-02-19T09:36:28.275" v="3155"/>
          <ac:spMkLst>
            <pc:docMk/>
            <pc:sldMk cId="2799762407" sldId="2034"/>
            <ac:spMk id="14" creationId="{2684ED7B-F519-7A8A-5474-E8FA4C711FAD}"/>
          </ac:spMkLst>
        </pc:spChg>
        <pc:spChg chg="mod">
          <ac:chgData name="Kimura, Kan 4" userId="1a3672aa-9e57-4429-af19-76604e5d9622" providerId="ADAL" clId="{A502B40F-E972-46F9-BFFA-638914C389CA}" dt="2026-02-19T09:15:01.107" v="1737" actId="14100"/>
          <ac:spMkLst>
            <pc:docMk/>
            <pc:sldMk cId="2799762407" sldId="2034"/>
            <ac:spMk id="15" creationId="{8C9314B8-AFB1-1295-A4C6-1975601FF8AE}"/>
          </ac:spMkLst>
        </pc:spChg>
        <pc:spChg chg="mod">
          <ac:chgData name="Kimura, Kan 4" userId="1a3672aa-9e57-4429-af19-76604e5d9622" providerId="ADAL" clId="{A502B40F-E972-46F9-BFFA-638914C389CA}" dt="2026-02-19T09:15:01.107" v="1737" actId="14100"/>
          <ac:spMkLst>
            <pc:docMk/>
            <pc:sldMk cId="2799762407" sldId="2034"/>
            <ac:spMk id="18" creationId="{2C84AD6B-1206-626A-4383-9B5D5808E0BD}"/>
          </ac:spMkLst>
        </pc:spChg>
        <pc:spChg chg="add mod">
          <ac:chgData name="Kimura, Kan 4" userId="1a3672aa-9e57-4429-af19-76604e5d9622" providerId="ADAL" clId="{A502B40F-E972-46F9-BFFA-638914C389CA}" dt="2026-02-19T09:35:42.884" v="3088" actId="14100"/>
          <ac:spMkLst>
            <pc:docMk/>
            <pc:sldMk cId="2799762407" sldId="2034"/>
            <ac:spMk id="21" creationId="{74459ACB-8440-A935-AFEF-A6E051ACE57A}"/>
          </ac:spMkLst>
        </pc:spChg>
        <pc:spChg chg="add mod">
          <ac:chgData name="Kimura, Kan 4" userId="1a3672aa-9e57-4429-af19-76604e5d9622" providerId="ADAL" clId="{A502B40F-E972-46F9-BFFA-638914C389CA}" dt="2026-02-19T09:35:42.884" v="3088" actId="14100"/>
          <ac:spMkLst>
            <pc:docMk/>
            <pc:sldMk cId="2799762407" sldId="2034"/>
            <ac:spMk id="22" creationId="{D39E6EFE-B063-92EC-BA06-A870D3AEFFF1}"/>
          </ac:spMkLst>
        </pc:spChg>
        <pc:spChg chg="mod">
          <ac:chgData name="Kimura, Kan 4" userId="1a3672aa-9e57-4429-af19-76604e5d9622" providerId="ADAL" clId="{A502B40F-E972-46F9-BFFA-638914C389CA}" dt="2026-02-19T09:36:03.124" v="3128" actId="465"/>
          <ac:spMkLst>
            <pc:docMk/>
            <pc:sldMk cId="2799762407" sldId="2034"/>
            <ac:spMk id="23" creationId="{1F6A52F2-6E92-A557-BCCE-0BB4C6F5FFE6}"/>
          </ac:spMkLst>
        </pc:spChg>
        <pc:spChg chg="mod">
          <ac:chgData name="Kimura, Kan 4" userId="1a3672aa-9e57-4429-af19-76604e5d9622" providerId="ADAL" clId="{A502B40F-E972-46F9-BFFA-638914C389CA}" dt="2026-02-19T09:36:06.907" v="3129" actId="465"/>
          <ac:spMkLst>
            <pc:docMk/>
            <pc:sldMk cId="2799762407" sldId="2034"/>
            <ac:spMk id="24" creationId="{6AEB0DA2-DA34-84B7-D341-6350FEECC867}"/>
          </ac:spMkLst>
        </pc:spChg>
        <pc:spChg chg="mod">
          <ac:chgData name="Kimura, Kan 4" userId="1a3672aa-9e57-4429-af19-76604e5d9622" providerId="ADAL" clId="{A502B40F-E972-46F9-BFFA-638914C389CA}" dt="2026-02-19T09:36:17.584" v="3141"/>
          <ac:spMkLst>
            <pc:docMk/>
            <pc:sldMk cId="2799762407" sldId="2034"/>
            <ac:spMk id="25" creationId="{7700CF1D-AA9E-3565-2469-0920F7D09258}"/>
          </ac:spMkLst>
        </pc:spChg>
        <pc:spChg chg="mod">
          <ac:chgData name="Kimura, Kan 4" userId="1a3672aa-9e57-4429-af19-76604e5d9622" providerId="ADAL" clId="{A502B40F-E972-46F9-BFFA-638914C389CA}" dt="2026-02-19T09:36:03.124" v="3128" actId="465"/>
          <ac:spMkLst>
            <pc:docMk/>
            <pc:sldMk cId="2799762407" sldId="2034"/>
            <ac:spMk id="27" creationId="{A774D522-4D67-92AE-D61C-BA4DE4EC2EE4}"/>
          </ac:spMkLst>
        </pc:spChg>
        <pc:spChg chg="mod">
          <ac:chgData name="Kimura, Kan 4" userId="1a3672aa-9e57-4429-af19-76604e5d9622" providerId="ADAL" clId="{A502B40F-E972-46F9-BFFA-638914C389CA}" dt="2026-02-19T09:36:06.907" v="3129" actId="465"/>
          <ac:spMkLst>
            <pc:docMk/>
            <pc:sldMk cId="2799762407" sldId="2034"/>
            <ac:spMk id="28" creationId="{B2EDC647-266E-F8ED-FA44-4CB76A8CBBC4}"/>
          </ac:spMkLst>
        </pc:spChg>
        <pc:spChg chg="mod">
          <ac:chgData name="Kimura, Kan 4" userId="1a3672aa-9e57-4429-af19-76604e5d9622" providerId="ADAL" clId="{A502B40F-E972-46F9-BFFA-638914C389CA}" dt="2026-02-19T09:36:03.124" v="3128" actId="465"/>
          <ac:spMkLst>
            <pc:docMk/>
            <pc:sldMk cId="2799762407" sldId="2034"/>
            <ac:spMk id="34" creationId="{443DDD8D-8D5C-05D7-41B1-2619D3F4CEE2}"/>
          </ac:spMkLst>
        </pc:spChg>
        <pc:spChg chg="mod">
          <ac:chgData name="Kimura, Kan 4" userId="1a3672aa-9e57-4429-af19-76604e5d9622" providerId="ADAL" clId="{A502B40F-E972-46F9-BFFA-638914C389CA}" dt="2026-02-19T09:36:06.907" v="3129" actId="465"/>
          <ac:spMkLst>
            <pc:docMk/>
            <pc:sldMk cId="2799762407" sldId="2034"/>
            <ac:spMk id="35" creationId="{236C9DF8-D010-7A1C-9FAB-1FB9079039AA}"/>
          </ac:spMkLst>
        </pc:spChg>
        <pc:spChg chg="mod">
          <ac:chgData name="Kimura, Kan 4" userId="1a3672aa-9e57-4429-af19-76604e5d9622" providerId="ADAL" clId="{A502B40F-E972-46F9-BFFA-638914C389CA}" dt="2026-02-19T09:36:14.212" v="3135"/>
          <ac:spMkLst>
            <pc:docMk/>
            <pc:sldMk cId="2799762407" sldId="2034"/>
            <ac:spMk id="40" creationId="{1E2F49BA-85BC-2C12-F2AE-5D8495A4A293}"/>
          </ac:spMkLst>
        </pc:spChg>
      </pc:sldChg>
      <pc:sldChg chg="addSp delSp modSp mod">
        <pc:chgData name="Kimura, Kan 4" userId="1a3672aa-9e57-4429-af19-76604e5d9622" providerId="ADAL" clId="{A502B40F-E972-46F9-BFFA-638914C389CA}" dt="2026-02-19T09:50:03.507" v="3352" actId="1035"/>
        <pc:sldMkLst>
          <pc:docMk/>
          <pc:sldMk cId="1942732370" sldId="2035"/>
        </pc:sldMkLst>
        <pc:spChg chg="add mod">
          <ac:chgData name="Kimura, Kan 4" userId="1a3672aa-9e57-4429-af19-76604e5d9622" providerId="ADAL" clId="{A502B40F-E972-46F9-BFFA-638914C389CA}" dt="2026-02-19T09:48:19.966" v="3291" actId="20577"/>
          <ac:spMkLst>
            <pc:docMk/>
            <pc:sldMk cId="1942732370" sldId="2035"/>
            <ac:spMk id="9" creationId="{DE5D045B-62BC-21DC-2FFE-5DBF975FCDFD}"/>
          </ac:spMkLst>
        </pc:spChg>
        <pc:spChg chg="mod ord">
          <ac:chgData name="Kimura, Kan 4" userId="1a3672aa-9e57-4429-af19-76604e5d9622" providerId="ADAL" clId="{A502B40F-E972-46F9-BFFA-638914C389CA}" dt="2026-02-19T09:48:45.400" v="3302" actId="14100"/>
          <ac:spMkLst>
            <pc:docMk/>
            <pc:sldMk cId="1942732370" sldId="2035"/>
            <ac:spMk id="13" creationId="{4F8CF523-042E-B68E-BE63-2DBEC5F6560A}"/>
          </ac:spMkLst>
        </pc:spChg>
        <pc:spChg chg="mod">
          <ac:chgData name="Kimura, Kan 4" userId="1a3672aa-9e57-4429-af19-76604e5d9622" providerId="ADAL" clId="{A502B40F-E972-46F9-BFFA-638914C389CA}" dt="2026-02-19T09:48:45.400" v="3302" actId="14100"/>
          <ac:spMkLst>
            <pc:docMk/>
            <pc:sldMk cId="1942732370" sldId="2035"/>
            <ac:spMk id="16" creationId="{FD1CD3D1-55AF-17DC-B177-DF84C19B54E2}"/>
          </ac:spMkLst>
        </pc:spChg>
        <pc:spChg chg="mod ord">
          <ac:chgData name="Kimura, Kan 4" userId="1a3672aa-9e57-4429-af19-76604e5d9622" providerId="ADAL" clId="{A502B40F-E972-46F9-BFFA-638914C389CA}" dt="2026-02-19T09:48:45.400" v="3302" actId="14100"/>
          <ac:spMkLst>
            <pc:docMk/>
            <pc:sldMk cId="1942732370" sldId="2035"/>
            <ac:spMk id="20" creationId="{4D665395-0B85-6ED3-6B3D-4E01CA6D1B3F}"/>
          </ac:spMkLst>
        </pc:spChg>
        <pc:spChg chg="add mod">
          <ac:chgData name="Kimura, Kan 4" userId="1a3672aa-9e57-4429-af19-76604e5d9622" providerId="ADAL" clId="{A502B40F-E972-46F9-BFFA-638914C389CA}" dt="2026-02-19T09:47:35.585" v="3222"/>
          <ac:spMkLst>
            <pc:docMk/>
            <pc:sldMk cId="1942732370" sldId="2035"/>
            <ac:spMk id="23" creationId="{2D78B4C1-2A7D-3131-ECA6-4F889511590E}"/>
          </ac:spMkLst>
        </pc:spChg>
        <pc:spChg chg="add mod">
          <ac:chgData name="Kimura, Kan 4" userId="1a3672aa-9e57-4429-af19-76604e5d9622" providerId="ADAL" clId="{A502B40F-E972-46F9-BFFA-638914C389CA}" dt="2026-02-19T09:49:32.684" v="3332" actId="20577"/>
          <ac:spMkLst>
            <pc:docMk/>
            <pc:sldMk cId="1942732370" sldId="2035"/>
            <ac:spMk id="24" creationId="{F0ECE2E0-9DA1-AE52-FA9B-0853F16A1902}"/>
          </ac:spMkLst>
        </pc:spChg>
        <pc:spChg chg="mod">
          <ac:chgData name="Kimura, Kan 4" userId="1a3672aa-9e57-4429-af19-76604e5d9622" providerId="ADAL" clId="{A502B40F-E972-46F9-BFFA-638914C389CA}" dt="2026-02-19T09:48:54.747" v="3304" actId="465"/>
          <ac:spMkLst>
            <pc:docMk/>
            <pc:sldMk cId="1942732370" sldId="2035"/>
            <ac:spMk id="29" creationId="{A86E5D5F-6AE3-C475-D974-D3DE735CE84E}"/>
          </ac:spMkLst>
        </pc:spChg>
        <pc:spChg chg="mod">
          <ac:chgData name="Kimura, Kan 4" userId="1a3672aa-9e57-4429-af19-76604e5d9622" providerId="ADAL" clId="{A502B40F-E972-46F9-BFFA-638914C389CA}" dt="2026-02-19T09:48:50.165" v="3303" actId="465"/>
          <ac:spMkLst>
            <pc:docMk/>
            <pc:sldMk cId="1942732370" sldId="2035"/>
            <ac:spMk id="30" creationId="{84E13CD4-5630-1956-7BE9-AA9E2D27AA63}"/>
          </ac:spMkLst>
        </pc:spChg>
        <pc:spChg chg="mod">
          <ac:chgData name="Kimura, Kan 4" userId="1a3672aa-9e57-4429-af19-76604e5d9622" providerId="ADAL" clId="{A502B40F-E972-46F9-BFFA-638914C389CA}" dt="2026-02-19T09:48:54.747" v="3304" actId="465"/>
          <ac:spMkLst>
            <pc:docMk/>
            <pc:sldMk cId="1942732370" sldId="2035"/>
            <ac:spMk id="31" creationId="{FC9AAC06-B512-18B7-A930-FB1DE7B66039}"/>
          </ac:spMkLst>
        </pc:spChg>
        <pc:spChg chg="mod">
          <ac:chgData name="Kimura, Kan 4" userId="1a3672aa-9e57-4429-af19-76604e5d9622" providerId="ADAL" clId="{A502B40F-E972-46F9-BFFA-638914C389CA}" dt="2026-02-19T09:48:50.165" v="3303" actId="465"/>
          <ac:spMkLst>
            <pc:docMk/>
            <pc:sldMk cId="1942732370" sldId="2035"/>
            <ac:spMk id="32" creationId="{EFFFF08E-72D1-C8A9-1A8F-FA8EF2D3DCE1}"/>
          </ac:spMkLst>
        </pc:spChg>
        <pc:spChg chg="mod">
          <ac:chgData name="Kimura, Kan 4" userId="1a3672aa-9e57-4429-af19-76604e5d9622" providerId="ADAL" clId="{A502B40F-E972-46F9-BFFA-638914C389CA}" dt="2026-02-19T09:49:04.909" v="3310"/>
          <ac:spMkLst>
            <pc:docMk/>
            <pc:sldMk cId="1942732370" sldId="2035"/>
            <ac:spMk id="40" creationId="{42F7121C-581F-0FB0-6C4F-29DF0E3BCD33}"/>
          </ac:spMkLst>
        </pc:spChg>
        <pc:spChg chg="mod">
          <ac:chgData name="Kimura, Kan 4" userId="1a3672aa-9e57-4429-af19-76604e5d9622" providerId="ADAL" clId="{A502B40F-E972-46F9-BFFA-638914C389CA}" dt="2026-02-19T09:49:08.296" v="3316"/>
          <ac:spMkLst>
            <pc:docMk/>
            <pc:sldMk cId="1942732370" sldId="2035"/>
            <ac:spMk id="41" creationId="{8AFDBBFF-3B95-FF9C-C99A-4B83C4111EAB}"/>
          </ac:spMkLst>
        </pc:spChg>
      </pc:sldChg>
      <pc:sldChg chg="delSp mod">
        <pc:chgData name="Kimura, Kan 4" userId="1a3672aa-9e57-4429-af19-76604e5d9622" providerId="ADAL" clId="{A502B40F-E972-46F9-BFFA-638914C389CA}" dt="2026-02-19T09:45:40.154" v="3163" actId="478"/>
        <pc:sldMkLst>
          <pc:docMk/>
          <pc:sldMk cId="3692777124" sldId="2044"/>
        </pc:sldMkLst>
      </pc:sldChg>
      <pc:sldChg chg="addSp delSp modSp mod">
        <pc:chgData name="Kimura, Kan 4" userId="1a3672aa-9e57-4429-af19-76604e5d9622" providerId="ADAL" clId="{A502B40F-E972-46F9-BFFA-638914C389CA}" dt="2026-02-19T09:44:55.541" v="3162" actId="478"/>
        <pc:sldMkLst>
          <pc:docMk/>
          <pc:sldMk cId="2206337066" sldId="2045"/>
        </pc:sldMkLst>
        <pc:spChg chg="add mod">
          <ac:chgData name="Kimura, Kan 4" userId="1a3672aa-9e57-4429-af19-76604e5d9622" providerId="ADAL" clId="{A502B40F-E972-46F9-BFFA-638914C389CA}" dt="2026-02-19T09:10:21.499" v="1432" actId="1036"/>
          <ac:spMkLst>
            <pc:docMk/>
            <pc:sldMk cId="2206337066" sldId="2045"/>
            <ac:spMk id="2" creationId="{DD1229C7-161E-C0E1-5B5D-E364FE617736}"/>
          </ac:spMkLst>
        </pc:spChg>
        <pc:spChg chg="add mod">
          <ac:chgData name="Kimura, Kan 4" userId="1a3672aa-9e57-4429-af19-76604e5d9622" providerId="ADAL" clId="{A502B40F-E972-46F9-BFFA-638914C389CA}" dt="2026-02-19T08:58:35.482" v="967" actId="1035"/>
          <ac:spMkLst>
            <pc:docMk/>
            <pc:sldMk cId="2206337066" sldId="2045"/>
            <ac:spMk id="6" creationId="{1F48F448-5AF3-DBF0-A760-89D273E45E9C}"/>
          </ac:spMkLst>
        </pc:spChg>
        <pc:spChg chg="add mod">
          <ac:chgData name="Kimura, Kan 4" userId="1a3672aa-9e57-4429-af19-76604e5d9622" providerId="ADAL" clId="{A502B40F-E972-46F9-BFFA-638914C389CA}" dt="2026-02-19T08:56:55.641" v="877" actId="1035"/>
          <ac:spMkLst>
            <pc:docMk/>
            <pc:sldMk cId="2206337066" sldId="2045"/>
            <ac:spMk id="9" creationId="{347C63FD-3F27-AA9E-2A36-868CDE7B4E0A}"/>
          </ac:spMkLst>
        </pc:spChg>
        <pc:spChg chg="add mod">
          <ac:chgData name="Kimura, Kan 4" userId="1a3672aa-9e57-4429-af19-76604e5d9622" providerId="ADAL" clId="{A502B40F-E972-46F9-BFFA-638914C389CA}" dt="2026-02-19T08:59:36.217" v="974" actId="14100"/>
          <ac:spMkLst>
            <pc:docMk/>
            <pc:sldMk cId="2206337066" sldId="2045"/>
            <ac:spMk id="10" creationId="{253F7D1B-E2AA-FF20-77C8-C1E3663DAC4F}"/>
          </ac:spMkLst>
        </pc:spChg>
        <pc:spChg chg="mod">
          <ac:chgData name="Kimura, Kan 4" userId="1a3672aa-9e57-4429-af19-76604e5d9622" providerId="ADAL" clId="{A502B40F-E972-46F9-BFFA-638914C389CA}" dt="2026-02-19T08:58:35.482" v="967" actId="1035"/>
          <ac:spMkLst>
            <pc:docMk/>
            <pc:sldMk cId="2206337066" sldId="2045"/>
            <ac:spMk id="43" creationId="{FC694465-EA88-D34E-0602-599AA3054AD7}"/>
          </ac:spMkLst>
        </pc:spChg>
        <pc:spChg chg="mod">
          <ac:chgData name="Kimura, Kan 4" userId="1a3672aa-9e57-4429-af19-76604e5d9622" providerId="ADAL" clId="{A502B40F-E972-46F9-BFFA-638914C389CA}" dt="2026-02-19T08:56:52.149" v="873" actId="1035"/>
          <ac:spMkLst>
            <pc:docMk/>
            <pc:sldMk cId="2206337066" sldId="2045"/>
            <ac:spMk id="45" creationId="{333F8956-FCB1-DB4B-C29A-38DCC73EABE1}"/>
          </ac:spMkLst>
        </pc:spChg>
        <pc:spChg chg="mod">
          <ac:chgData name="Kimura, Kan 4" userId="1a3672aa-9e57-4429-af19-76604e5d9622" providerId="ADAL" clId="{A502B40F-E972-46F9-BFFA-638914C389CA}" dt="2026-02-19T09:10:34.393" v="1436" actId="14100"/>
          <ac:spMkLst>
            <pc:docMk/>
            <pc:sldMk cId="2206337066" sldId="2045"/>
            <ac:spMk id="46" creationId="{19FE5652-343A-E4E3-7D40-1D0E228186B2}"/>
          </ac:spMkLst>
        </pc:spChg>
      </pc:sldChg>
      <pc:sldChg chg="addSp delSp modSp mod">
        <pc:chgData name="Kimura, Kan 4" userId="1a3672aa-9e57-4429-af19-76604e5d9622" providerId="ADAL" clId="{A502B40F-E972-46F9-BFFA-638914C389CA}" dt="2026-02-19T09:42:46.185" v="3161" actId="478"/>
        <pc:sldMkLst>
          <pc:docMk/>
          <pc:sldMk cId="3182320730" sldId="2046"/>
        </pc:sldMkLst>
      </pc:sldChg>
      <pc:sldChg chg="add mod ord modShow">
        <pc:chgData name="Kimura, Kan 4" userId="1a3672aa-9e57-4429-af19-76604e5d9622" providerId="ADAL" clId="{A502B40F-E972-46F9-BFFA-638914C389CA}" dt="2026-02-19T09:11:59.111" v="1514" actId="729"/>
        <pc:sldMkLst>
          <pc:docMk/>
          <pc:sldMk cId="718403273" sldId="2047"/>
        </pc:sldMkLst>
      </pc:sldChg>
      <pc:sldChg chg="add mod ord modShow">
        <pc:chgData name="Kimura, Kan 4" userId="1a3672aa-9e57-4429-af19-76604e5d9622" providerId="ADAL" clId="{A502B40F-E972-46F9-BFFA-638914C389CA}" dt="2026-02-19T09:12:04.101" v="1520" actId="729"/>
        <pc:sldMkLst>
          <pc:docMk/>
          <pc:sldMk cId="1941434851" sldId="2048"/>
        </pc:sldMkLst>
      </pc:sldChg>
    </pc:docChg>
  </pc:docChgLst>
  <pc:docChgLst>
    <pc:chgData name="菊地 昌吾" userId="a2de550d-73a8-4375-a9a2-9a1175432f9d" providerId="ADAL" clId="{6A780E50-59A3-4AC4-BDB4-C62A975FF573}"/>
    <pc:docChg chg="modSld">
      <pc:chgData name="菊地 昌吾" userId="a2de550d-73a8-4375-a9a2-9a1175432f9d" providerId="ADAL" clId="{6A780E50-59A3-4AC4-BDB4-C62A975FF573}" dt="2026-02-24T18:20:31.783" v="71" actId="14100"/>
      <pc:docMkLst>
        <pc:docMk/>
      </pc:docMkLst>
      <pc:sldChg chg="modSp mod">
        <pc:chgData name="菊地 昌吾" userId="a2de550d-73a8-4375-a9a2-9a1175432f9d" providerId="ADAL" clId="{6A780E50-59A3-4AC4-BDB4-C62A975FF573}" dt="2026-02-24T18:19:35.419" v="55" actId="20577"/>
        <pc:sldMkLst>
          <pc:docMk/>
          <pc:sldMk cId="2206337066" sldId="2045"/>
        </pc:sldMkLst>
        <pc:spChg chg="mod">
          <ac:chgData name="菊地 昌吾" userId="a2de550d-73a8-4375-a9a2-9a1175432f9d" providerId="ADAL" clId="{6A780E50-59A3-4AC4-BDB4-C62A975FF573}" dt="2026-02-24T18:19:35.419" v="55" actId="20577"/>
          <ac:spMkLst>
            <pc:docMk/>
            <pc:sldMk cId="2206337066" sldId="2045"/>
            <ac:spMk id="2" creationId="{DD1229C7-161E-C0E1-5B5D-E364FE617736}"/>
          </ac:spMkLst>
        </pc:spChg>
        <pc:spChg chg="mod">
          <ac:chgData name="菊地 昌吾" userId="a2de550d-73a8-4375-a9a2-9a1175432f9d" providerId="ADAL" clId="{6A780E50-59A3-4AC4-BDB4-C62A975FF573}" dt="2026-02-24T18:18:38.971" v="23" actId="1036"/>
          <ac:spMkLst>
            <pc:docMk/>
            <pc:sldMk cId="2206337066" sldId="2045"/>
            <ac:spMk id="7" creationId="{F39C56F9-E232-6FAD-E271-D29E1B529082}"/>
          </ac:spMkLst>
        </pc:spChg>
        <pc:spChg chg="mod">
          <ac:chgData name="菊地 昌吾" userId="a2de550d-73a8-4375-a9a2-9a1175432f9d" providerId="ADAL" clId="{6A780E50-59A3-4AC4-BDB4-C62A975FF573}" dt="2026-02-24T18:18:50.570" v="25" actId="1076"/>
          <ac:spMkLst>
            <pc:docMk/>
            <pc:sldMk cId="2206337066" sldId="2045"/>
            <ac:spMk id="10" creationId="{253F7D1B-E2AA-FF20-77C8-C1E3663DAC4F}"/>
          </ac:spMkLst>
        </pc:spChg>
        <pc:spChg chg="mod">
          <ac:chgData name="菊地 昌吾" userId="a2de550d-73a8-4375-a9a2-9a1175432f9d" providerId="ADAL" clId="{6A780E50-59A3-4AC4-BDB4-C62A975FF573}" dt="2026-02-24T18:18:44.547" v="24" actId="1076"/>
          <ac:spMkLst>
            <pc:docMk/>
            <pc:sldMk cId="2206337066" sldId="2045"/>
            <ac:spMk id="11" creationId="{321CB4B4-C5C0-3F76-39E3-5A5759EEF6DB}"/>
          </ac:spMkLst>
        </pc:spChg>
        <pc:spChg chg="mod">
          <ac:chgData name="菊地 昌吾" userId="a2de550d-73a8-4375-a9a2-9a1175432f9d" providerId="ADAL" clId="{6A780E50-59A3-4AC4-BDB4-C62A975FF573}" dt="2026-02-24T18:19:22.021" v="53" actId="1037"/>
          <ac:spMkLst>
            <pc:docMk/>
            <pc:sldMk cId="2206337066" sldId="2045"/>
            <ac:spMk id="19" creationId="{70655089-C22E-1EE4-6F68-B206036D0154}"/>
          </ac:spMkLst>
        </pc:spChg>
      </pc:sldChg>
      <pc:sldChg chg="modSp mod">
        <pc:chgData name="菊地 昌吾" userId="a2de550d-73a8-4375-a9a2-9a1175432f9d" providerId="ADAL" clId="{6A780E50-59A3-4AC4-BDB4-C62A975FF573}" dt="2026-02-24T18:20:05.213" v="70" actId="1035"/>
        <pc:sldMkLst>
          <pc:docMk/>
          <pc:sldMk cId="779528774" sldId="2051"/>
        </pc:sldMkLst>
        <pc:spChg chg="mod">
          <ac:chgData name="菊地 昌吾" userId="a2de550d-73a8-4375-a9a2-9a1175432f9d" providerId="ADAL" clId="{6A780E50-59A3-4AC4-BDB4-C62A975FF573}" dt="2026-02-24T18:20:01.617" v="64" actId="1036"/>
          <ac:spMkLst>
            <pc:docMk/>
            <pc:sldMk cId="779528774" sldId="2051"/>
            <ac:spMk id="4" creationId="{C3A864C0-A69E-63F2-8B05-FD928BF6AC93}"/>
          </ac:spMkLst>
        </pc:spChg>
        <pc:spChg chg="mod">
          <ac:chgData name="菊地 昌吾" userId="a2de550d-73a8-4375-a9a2-9a1175432f9d" providerId="ADAL" clId="{6A780E50-59A3-4AC4-BDB4-C62A975FF573}" dt="2026-02-24T18:20:01.617" v="64" actId="1036"/>
          <ac:spMkLst>
            <pc:docMk/>
            <pc:sldMk cId="779528774" sldId="2051"/>
            <ac:spMk id="6" creationId="{5C45E698-AE6F-513C-47E8-88398475EEB5}"/>
          </ac:spMkLst>
        </pc:spChg>
        <pc:spChg chg="mod">
          <ac:chgData name="菊地 昌吾" userId="a2de550d-73a8-4375-a9a2-9a1175432f9d" providerId="ADAL" clId="{6A780E50-59A3-4AC4-BDB4-C62A975FF573}" dt="2026-02-24T18:20:01.617" v="64" actId="1036"/>
          <ac:spMkLst>
            <pc:docMk/>
            <pc:sldMk cId="779528774" sldId="2051"/>
            <ac:spMk id="9" creationId="{B2901DAA-3107-4575-877D-27EEE0DDA0FE}"/>
          </ac:spMkLst>
        </pc:spChg>
        <pc:spChg chg="mod">
          <ac:chgData name="菊地 昌吾" userId="a2de550d-73a8-4375-a9a2-9a1175432f9d" providerId="ADAL" clId="{6A780E50-59A3-4AC4-BDB4-C62A975FF573}" dt="2026-02-24T18:20:05.213" v="70" actId="1035"/>
          <ac:spMkLst>
            <pc:docMk/>
            <pc:sldMk cId="779528774" sldId="2051"/>
            <ac:spMk id="12" creationId="{286735E9-D80D-03F0-71C2-51E0C84E54C5}"/>
          </ac:spMkLst>
        </pc:spChg>
        <pc:spChg chg="mod">
          <ac:chgData name="菊地 昌吾" userId="a2de550d-73a8-4375-a9a2-9a1175432f9d" providerId="ADAL" clId="{6A780E50-59A3-4AC4-BDB4-C62A975FF573}" dt="2026-02-24T18:19:52.510" v="57" actId="1076"/>
          <ac:spMkLst>
            <pc:docMk/>
            <pc:sldMk cId="779528774" sldId="2051"/>
            <ac:spMk id="18" creationId="{6E784905-C564-1B53-57BE-422DDEA0D3B7}"/>
          </ac:spMkLst>
        </pc:spChg>
        <pc:spChg chg="mod">
          <ac:chgData name="菊地 昌吾" userId="a2de550d-73a8-4375-a9a2-9a1175432f9d" providerId="ADAL" clId="{6A780E50-59A3-4AC4-BDB4-C62A975FF573}" dt="2026-02-24T18:20:01.617" v="64" actId="1036"/>
          <ac:spMkLst>
            <pc:docMk/>
            <pc:sldMk cId="779528774" sldId="2051"/>
            <ac:spMk id="43" creationId="{7E4F710C-B3C2-CEE6-8ADC-66D55BF1A00B}"/>
          </ac:spMkLst>
        </pc:spChg>
        <pc:spChg chg="mod">
          <ac:chgData name="菊地 昌吾" userId="a2de550d-73a8-4375-a9a2-9a1175432f9d" providerId="ADAL" clId="{6A780E50-59A3-4AC4-BDB4-C62A975FF573}" dt="2026-02-24T18:20:01.617" v="64" actId="1036"/>
          <ac:spMkLst>
            <pc:docMk/>
            <pc:sldMk cId="779528774" sldId="2051"/>
            <ac:spMk id="45" creationId="{B43F5D0E-974D-7F02-7CE5-926E15911FEE}"/>
          </ac:spMkLst>
        </pc:spChg>
      </pc:sldChg>
      <pc:sldChg chg="modSp mod">
        <pc:chgData name="菊地 昌吾" userId="a2de550d-73a8-4375-a9a2-9a1175432f9d" providerId="ADAL" clId="{6A780E50-59A3-4AC4-BDB4-C62A975FF573}" dt="2026-02-24T18:20:31.783" v="71" actId="14100"/>
        <pc:sldMkLst>
          <pc:docMk/>
          <pc:sldMk cId="2069976121" sldId="2054"/>
        </pc:sldMkLst>
        <pc:spChg chg="mod">
          <ac:chgData name="菊地 昌吾" userId="a2de550d-73a8-4375-a9a2-9a1175432f9d" providerId="ADAL" clId="{6A780E50-59A3-4AC4-BDB4-C62A975FF573}" dt="2026-02-24T18:20:31.783" v="71" actId="14100"/>
          <ac:spMkLst>
            <pc:docMk/>
            <pc:sldMk cId="2069976121" sldId="2054"/>
            <ac:spMk id="56" creationId="{48F8FA18-29F8-4E33-ABDC-3732705F8748}"/>
          </ac:spMkLst>
        </pc:spChg>
      </pc:sldChg>
    </pc:docChg>
  </pc:docChgLst>
  <pc:docChgLst>
    <pc:chgData name="春見 萌" userId="9afd8786-03fb-4f21-8c92-2c7d57f78c8c" providerId="ADAL" clId="{D98365F3-3FD0-40D5-B557-80CB254BB869}"/>
    <pc:docChg chg="undo custSel modSld">
      <pc:chgData name="春見 萌" userId="9afd8786-03fb-4f21-8c92-2c7d57f78c8c" providerId="ADAL" clId="{D98365F3-3FD0-40D5-B557-80CB254BB869}" dt="2026-02-26T06:38:03.393" v="663" actId="1035"/>
      <pc:docMkLst>
        <pc:docMk/>
      </pc:docMkLst>
      <pc:sldChg chg="delSp mod">
        <pc:chgData name="春見 萌" userId="9afd8786-03fb-4f21-8c92-2c7d57f78c8c" providerId="ADAL" clId="{D98365F3-3FD0-40D5-B557-80CB254BB869}" dt="2026-02-26T06:36:16.893" v="622" actId="478"/>
        <pc:sldMkLst>
          <pc:docMk/>
          <pc:sldMk cId="2799762407" sldId="2034"/>
        </pc:sldMkLst>
        <pc:spChg chg="del">
          <ac:chgData name="春見 萌" userId="9afd8786-03fb-4f21-8c92-2c7d57f78c8c" providerId="ADAL" clId="{D98365F3-3FD0-40D5-B557-80CB254BB869}" dt="2026-02-26T06:36:16.893" v="622" actId="478"/>
          <ac:spMkLst>
            <pc:docMk/>
            <pc:sldMk cId="2799762407" sldId="2034"/>
            <ac:spMk id="9" creationId="{9FE0B4ED-2172-82B2-0BA6-F00E4C7559AB}"/>
          </ac:spMkLst>
        </pc:spChg>
        <pc:spChg chg="del">
          <ac:chgData name="春見 萌" userId="9afd8786-03fb-4f21-8c92-2c7d57f78c8c" providerId="ADAL" clId="{D98365F3-3FD0-40D5-B557-80CB254BB869}" dt="2026-02-26T06:36:16.893" v="622" actId="478"/>
          <ac:spMkLst>
            <pc:docMk/>
            <pc:sldMk cId="2799762407" sldId="2034"/>
            <ac:spMk id="42" creationId="{6C3C28BB-C9D3-97B8-B36C-736B0D661BF8}"/>
          </ac:spMkLst>
        </pc:spChg>
        <pc:spChg chg="del">
          <ac:chgData name="春見 萌" userId="9afd8786-03fb-4f21-8c92-2c7d57f78c8c" providerId="ADAL" clId="{D98365F3-3FD0-40D5-B557-80CB254BB869}" dt="2026-02-26T06:36:16.893" v="622" actId="478"/>
          <ac:spMkLst>
            <pc:docMk/>
            <pc:sldMk cId="2799762407" sldId="2034"/>
            <ac:spMk id="43" creationId="{4E64C998-80FE-CB68-587B-A2C12DA97C21}"/>
          </ac:spMkLst>
        </pc:spChg>
        <pc:spChg chg="del">
          <ac:chgData name="春見 萌" userId="9afd8786-03fb-4f21-8c92-2c7d57f78c8c" providerId="ADAL" clId="{D98365F3-3FD0-40D5-B557-80CB254BB869}" dt="2026-02-26T06:36:16.893" v="622" actId="478"/>
          <ac:spMkLst>
            <pc:docMk/>
            <pc:sldMk cId="2799762407" sldId="2034"/>
            <ac:spMk id="44" creationId="{1A74C516-FA7D-398E-9E09-6C75D33DA36C}"/>
          </ac:spMkLst>
        </pc:spChg>
      </pc:sldChg>
      <pc:sldChg chg="delSp mod">
        <pc:chgData name="春見 萌" userId="9afd8786-03fb-4f21-8c92-2c7d57f78c8c" providerId="ADAL" clId="{D98365F3-3FD0-40D5-B557-80CB254BB869}" dt="2026-02-26T06:36:24.776" v="623" actId="478"/>
        <pc:sldMkLst>
          <pc:docMk/>
          <pc:sldMk cId="1942732370" sldId="2035"/>
        </pc:sldMkLst>
        <pc:spChg chg="del">
          <ac:chgData name="春見 萌" userId="9afd8786-03fb-4f21-8c92-2c7d57f78c8c" providerId="ADAL" clId="{D98365F3-3FD0-40D5-B557-80CB254BB869}" dt="2026-02-26T06:36:24.776" v="623" actId="478"/>
          <ac:spMkLst>
            <pc:docMk/>
            <pc:sldMk cId="1942732370" sldId="2035"/>
            <ac:spMk id="25" creationId="{6071782B-5B1F-196D-17FE-DFE58B34E83F}"/>
          </ac:spMkLst>
        </pc:spChg>
        <pc:spChg chg="del">
          <ac:chgData name="春見 萌" userId="9afd8786-03fb-4f21-8c92-2c7d57f78c8c" providerId="ADAL" clId="{D98365F3-3FD0-40D5-B557-80CB254BB869}" dt="2026-02-26T06:36:24.776" v="623" actId="478"/>
          <ac:spMkLst>
            <pc:docMk/>
            <pc:sldMk cId="1942732370" sldId="2035"/>
            <ac:spMk id="42" creationId="{5A3465EE-89D8-0470-0A5D-22A086837247}"/>
          </ac:spMkLst>
        </pc:spChg>
        <pc:spChg chg="del">
          <ac:chgData name="春見 萌" userId="9afd8786-03fb-4f21-8c92-2c7d57f78c8c" providerId="ADAL" clId="{D98365F3-3FD0-40D5-B557-80CB254BB869}" dt="2026-02-26T06:36:24.776" v="623" actId="478"/>
          <ac:spMkLst>
            <pc:docMk/>
            <pc:sldMk cId="1942732370" sldId="2035"/>
            <ac:spMk id="43" creationId="{A7290096-6116-C59E-F59A-BEED631BB907}"/>
          </ac:spMkLst>
        </pc:spChg>
        <pc:spChg chg="del">
          <ac:chgData name="春見 萌" userId="9afd8786-03fb-4f21-8c92-2c7d57f78c8c" providerId="ADAL" clId="{D98365F3-3FD0-40D5-B557-80CB254BB869}" dt="2026-02-26T06:36:24.776" v="623" actId="478"/>
          <ac:spMkLst>
            <pc:docMk/>
            <pc:sldMk cId="1942732370" sldId="2035"/>
            <ac:spMk id="44" creationId="{31303DF1-52C0-FD50-9C9B-D3B99D3694DC}"/>
          </ac:spMkLst>
        </pc:spChg>
      </pc:sldChg>
      <pc:sldChg chg="delSp modSp mod">
        <pc:chgData name="春見 萌" userId="9afd8786-03fb-4f21-8c92-2c7d57f78c8c" providerId="ADAL" clId="{D98365F3-3FD0-40D5-B557-80CB254BB869}" dt="2026-02-26T06:37:41.435" v="642" actId="1036"/>
        <pc:sldMkLst>
          <pc:docMk/>
          <pc:sldMk cId="829252687" sldId="2043"/>
        </pc:sldMkLst>
        <pc:spChg chg="del">
          <ac:chgData name="春見 萌" userId="9afd8786-03fb-4f21-8c92-2c7d57f78c8c" providerId="ADAL" clId="{D98365F3-3FD0-40D5-B557-80CB254BB869}" dt="2026-02-26T06:15:45.899" v="351" actId="478"/>
          <ac:spMkLst>
            <pc:docMk/>
            <pc:sldMk cId="829252687" sldId="2043"/>
            <ac:spMk id="3" creationId="{484B5AF1-0530-C66A-51CD-4C160F2BD1A0}"/>
          </ac:spMkLst>
        </pc:spChg>
        <pc:spChg chg="mod">
          <ac:chgData name="春見 萌" userId="9afd8786-03fb-4f21-8c92-2c7d57f78c8c" providerId="ADAL" clId="{D98365F3-3FD0-40D5-B557-80CB254BB869}" dt="2026-02-26T06:37:36.600" v="638" actId="1036"/>
          <ac:spMkLst>
            <pc:docMk/>
            <pc:sldMk cId="829252687" sldId="2043"/>
            <ac:spMk id="4" creationId="{0A9FDE42-15D2-B12E-7D93-9FAF5393738E}"/>
          </ac:spMkLst>
        </pc:spChg>
        <pc:spChg chg="mod">
          <ac:chgData name="春見 萌" userId="9afd8786-03fb-4f21-8c92-2c7d57f78c8c" providerId="ADAL" clId="{D98365F3-3FD0-40D5-B557-80CB254BB869}" dt="2026-02-26T06:37:36.600" v="638" actId="1036"/>
          <ac:spMkLst>
            <pc:docMk/>
            <pc:sldMk cId="829252687" sldId="2043"/>
            <ac:spMk id="7" creationId="{655A4E64-9552-8EE2-83F6-F44CF66A406D}"/>
          </ac:spMkLst>
        </pc:spChg>
        <pc:spChg chg="mod">
          <ac:chgData name="春見 萌" userId="9afd8786-03fb-4f21-8c92-2c7d57f78c8c" providerId="ADAL" clId="{D98365F3-3FD0-40D5-B557-80CB254BB869}" dt="2026-02-26T06:16:37.718" v="368" actId="1037"/>
          <ac:spMkLst>
            <pc:docMk/>
            <pc:sldMk cId="829252687" sldId="2043"/>
            <ac:spMk id="23" creationId="{A5FA24CD-EBA6-4E93-FCE9-19B9E45AAC3B}"/>
          </ac:spMkLst>
        </pc:spChg>
        <pc:spChg chg="mod">
          <ac:chgData name="春見 萌" userId="9afd8786-03fb-4f21-8c92-2c7d57f78c8c" providerId="ADAL" clId="{D98365F3-3FD0-40D5-B557-80CB254BB869}" dt="2026-02-26T06:16:33.495" v="361" actId="1076"/>
          <ac:spMkLst>
            <pc:docMk/>
            <pc:sldMk cId="829252687" sldId="2043"/>
            <ac:spMk id="24" creationId="{07572E3C-F71F-F5CF-69FD-1B2107521386}"/>
          </ac:spMkLst>
        </pc:spChg>
        <pc:spChg chg="mod">
          <ac:chgData name="春見 萌" userId="9afd8786-03fb-4f21-8c92-2c7d57f78c8c" providerId="ADAL" clId="{D98365F3-3FD0-40D5-B557-80CB254BB869}" dt="2026-02-26T06:37:36.600" v="638" actId="1036"/>
          <ac:spMkLst>
            <pc:docMk/>
            <pc:sldMk cId="829252687" sldId="2043"/>
            <ac:spMk id="43" creationId="{0250779F-BB4C-0818-34D3-115E09767BED}"/>
          </ac:spMkLst>
        </pc:spChg>
        <pc:spChg chg="mod">
          <ac:chgData name="春見 萌" userId="9afd8786-03fb-4f21-8c92-2c7d57f78c8c" providerId="ADAL" clId="{D98365F3-3FD0-40D5-B557-80CB254BB869}" dt="2026-02-26T06:37:36.600" v="638" actId="1036"/>
          <ac:spMkLst>
            <pc:docMk/>
            <pc:sldMk cId="829252687" sldId="2043"/>
            <ac:spMk id="44" creationId="{C9037A15-AE44-A25E-D1A6-71B07E3862E6}"/>
          </ac:spMkLst>
        </pc:spChg>
        <pc:spChg chg="mod">
          <ac:chgData name="春見 萌" userId="9afd8786-03fb-4f21-8c92-2c7d57f78c8c" providerId="ADAL" clId="{D98365F3-3FD0-40D5-B557-80CB254BB869}" dt="2026-02-26T06:37:36.600" v="638" actId="1036"/>
          <ac:spMkLst>
            <pc:docMk/>
            <pc:sldMk cId="829252687" sldId="2043"/>
            <ac:spMk id="45" creationId="{BDC88371-3E14-8601-040A-7D23533C3587}"/>
          </ac:spMkLst>
        </pc:spChg>
        <pc:spChg chg="mod">
          <ac:chgData name="春見 萌" userId="9afd8786-03fb-4f21-8c92-2c7d57f78c8c" providerId="ADAL" clId="{D98365F3-3FD0-40D5-B557-80CB254BB869}" dt="2026-02-26T06:37:36.600" v="638" actId="1036"/>
          <ac:spMkLst>
            <pc:docMk/>
            <pc:sldMk cId="829252687" sldId="2043"/>
            <ac:spMk id="46" creationId="{96D259D0-C34E-83A7-8851-7B5049BA2486}"/>
          </ac:spMkLst>
        </pc:spChg>
        <pc:spChg chg="mod">
          <ac:chgData name="春見 萌" userId="9afd8786-03fb-4f21-8c92-2c7d57f78c8c" providerId="ADAL" clId="{D98365F3-3FD0-40D5-B557-80CB254BB869}" dt="2026-02-26T06:37:36.600" v="638" actId="1036"/>
          <ac:spMkLst>
            <pc:docMk/>
            <pc:sldMk cId="829252687" sldId="2043"/>
            <ac:spMk id="52" creationId="{B2759B26-7063-60F6-1B83-5C40E1CE3745}"/>
          </ac:spMkLst>
        </pc:spChg>
        <pc:spChg chg="del">
          <ac:chgData name="春見 萌" userId="9afd8786-03fb-4f21-8c92-2c7d57f78c8c" providerId="ADAL" clId="{D98365F3-3FD0-40D5-B557-80CB254BB869}" dt="2026-02-26T06:15:45.899" v="351" actId="478"/>
          <ac:spMkLst>
            <pc:docMk/>
            <pc:sldMk cId="829252687" sldId="2043"/>
            <ac:spMk id="105" creationId="{5ADD7B9A-5048-02D7-1A68-238E56AA7F21}"/>
          </ac:spMkLst>
        </pc:spChg>
        <pc:spChg chg="del">
          <ac:chgData name="春見 萌" userId="9afd8786-03fb-4f21-8c92-2c7d57f78c8c" providerId="ADAL" clId="{D98365F3-3FD0-40D5-B557-80CB254BB869}" dt="2026-02-26T06:15:45.899" v="351" actId="478"/>
          <ac:spMkLst>
            <pc:docMk/>
            <pc:sldMk cId="829252687" sldId="2043"/>
            <ac:spMk id="106" creationId="{B1C48B76-F6B5-C159-AA5C-54814543A8D1}"/>
          </ac:spMkLst>
        </pc:spChg>
        <pc:spChg chg="del">
          <ac:chgData name="春見 萌" userId="9afd8786-03fb-4f21-8c92-2c7d57f78c8c" providerId="ADAL" clId="{D98365F3-3FD0-40D5-B557-80CB254BB869}" dt="2026-02-26T06:15:53.560" v="352" actId="478"/>
          <ac:spMkLst>
            <pc:docMk/>
            <pc:sldMk cId="829252687" sldId="2043"/>
            <ac:spMk id="107" creationId="{96CD600B-4EA8-03C7-034C-1EB523C18C76}"/>
          </ac:spMkLst>
        </pc:spChg>
        <pc:spChg chg="del">
          <ac:chgData name="春見 萌" userId="9afd8786-03fb-4f21-8c92-2c7d57f78c8c" providerId="ADAL" clId="{D98365F3-3FD0-40D5-B557-80CB254BB869}" dt="2026-02-26T06:15:45.899" v="351" actId="478"/>
          <ac:spMkLst>
            <pc:docMk/>
            <pc:sldMk cId="829252687" sldId="2043"/>
            <ac:spMk id="108" creationId="{2326ACDC-6399-F37F-8493-6DFC5FD7F4C6}"/>
          </ac:spMkLst>
        </pc:spChg>
        <pc:spChg chg="del">
          <ac:chgData name="春見 萌" userId="9afd8786-03fb-4f21-8c92-2c7d57f78c8c" providerId="ADAL" clId="{D98365F3-3FD0-40D5-B557-80CB254BB869}" dt="2026-02-26T06:15:45.899" v="351" actId="478"/>
          <ac:spMkLst>
            <pc:docMk/>
            <pc:sldMk cId="829252687" sldId="2043"/>
            <ac:spMk id="109" creationId="{07D58FF2-E982-5710-AE89-D583B64E3F5B}"/>
          </ac:spMkLst>
        </pc:spChg>
        <pc:spChg chg="del">
          <ac:chgData name="春見 萌" userId="9afd8786-03fb-4f21-8c92-2c7d57f78c8c" providerId="ADAL" clId="{D98365F3-3FD0-40D5-B557-80CB254BB869}" dt="2026-02-26T06:15:53.560" v="352" actId="478"/>
          <ac:spMkLst>
            <pc:docMk/>
            <pc:sldMk cId="829252687" sldId="2043"/>
            <ac:spMk id="111" creationId="{77CD5F9F-B00A-EC5B-5EC7-265349AF42BB}"/>
          </ac:spMkLst>
        </pc:spChg>
        <pc:graphicFrameChg chg="mod modGraphic">
          <ac:chgData name="春見 萌" userId="9afd8786-03fb-4f21-8c92-2c7d57f78c8c" providerId="ADAL" clId="{D98365F3-3FD0-40D5-B557-80CB254BB869}" dt="2026-02-26T06:37:41.435" v="642" actId="1036"/>
          <ac:graphicFrameMkLst>
            <pc:docMk/>
            <pc:sldMk cId="829252687" sldId="2043"/>
            <ac:graphicFrameMk id="6" creationId="{0AD80AD7-F16B-8361-5D3E-899F2019AF15}"/>
          </ac:graphicFrameMkLst>
        </pc:graphicFrameChg>
        <pc:cxnChg chg="del">
          <ac:chgData name="春見 萌" userId="9afd8786-03fb-4f21-8c92-2c7d57f78c8c" providerId="ADAL" clId="{D98365F3-3FD0-40D5-B557-80CB254BB869}" dt="2026-02-26T06:16:45.771" v="369" actId="478"/>
          <ac:cxnSpMkLst>
            <pc:docMk/>
            <pc:sldMk cId="829252687" sldId="2043"/>
            <ac:cxnSpMk id="50" creationId="{A360ED27-9576-8109-4243-3C5DCBDCEB72}"/>
          </ac:cxnSpMkLst>
        </pc:cxnChg>
      </pc:sldChg>
      <pc:sldChg chg="addSp delSp modSp mod">
        <pc:chgData name="春見 萌" userId="9afd8786-03fb-4f21-8c92-2c7d57f78c8c" providerId="ADAL" clId="{D98365F3-3FD0-40D5-B557-80CB254BB869}" dt="2026-02-26T06:19:53.265" v="447" actId="20577"/>
        <pc:sldMkLst>
          <pc:docMk/>
          <pc:sldMk cId="3692777124" sldId="2044"/>
        </pc:sldMkLst>
        <pc:spChg chg="del">
          <ac:chgData name="春見 萌" userId="9afd8786-03fb-4f21-8c92-2c7d57f78c8c" providerId="ADAL" clId="{D98365F3-3FD0-40D5-B557-80CB254BB869}" dt="2026-02-26T06:19:45.412" v="426" actId="478"/>
          <ac:spMkLst>
            <pc:docMk/>
            <pc:sldMk cId="3692777124" sldId="2044"/>
            <ac:spMk id="2" creationId="{4CD6B5D3-CEBD-DE07-9312-0522CD75336A}"/>
          </ac:spMkLst>
        </pc:spChg>
        <pc:spChg chg="add mod">
          <ac:chgData name="春見 萌" userId="9afd8786-03fb-4f21-8c92-2c7d57f78c8c" providerId="ADAL" clId="{D98365F3-3FD0-40D5-B557-80CB254BB869}" dt="2026-02-26T06:19:38.741" v="425"/>
          <ac:spMkLst>
            <pc:docMk/>
            <pc:sldMk cId="3692777124" sldId="2044"/>
            <ac:spMk id="5" creationId="{A10D7F37-0035-BB85-FBDC-BF2C92A6A66B}"/>
          </ac:spMkLst>
        </pc:spChg>
        <pc:spChg chg="add mod">
          <ac:chgData name="春見 萌" userId="9afd8786-03fb-4f21-8c92-2c7d57f78c8c" providerId="ADAL" clId="{D98365F3-3FD0-40D5-B557-80CB254BB869}" dt="2026-02-26T06:19:38.741" v="425"/>
          <ac:spMkLst>
            <pc:docMk/>
            <pc:sldMk cId="3692777124" sldId="2044"/>
            <ac:spMk id="6" creationId="{BA050C5E-EDE9-915D-F7F2-17E4AC5A1EEF}"/>
          </ac:spMkLst>
        </pc:spChg>
        <pc:spChg chg="mod">
          <ac:chgData name="春見 萌" userId="9afd8786-03fb-4f21-8c92-2c7d57f78c8c" providerId="ADAL" clId="{D98365F3-3FD0-40D5-B557-80CB254BB869}" dt="2026-02-26T06:19:49.370" v="439" actId="1035"/>
          <ac:spMkLst>
            <pc:docMk/>
            <pc:sldMk cId="3692777124" sldId="2044"/>
            <ac:spMk id="8" creationId="{72A2A223-EF98-5DBE-5E46-B30E77DBF1BB}"/>
          </ac:spMkLst>
        </pc:spChg>
        <pc:spChg chg="del">
          <ac:chgData name="春見 萌" userId="9afd8786-03fb-4f21-8c92-2c7d57f78c8c" providerId="ADAL" clId="{D98365F3-3FD0-40D5-B557-80CB254BB869}" dt="2026-02-26T06:19:45.412" v="426" actId="478"/>
          <ac:spMkLst>
            <pc:docMk/>
            <pc:sldMk cId="3692777124" sldId="2044"/>
            <ac:spMk id="12" creationId="{CBA4E8D3-30A8-82DD-B070-45B616C83DA6}"/>
          </ac:spMkLst>
        </pc:spChg>
        <pc:spChg chg="del">
          <ac:chgData name="春見 萌" userId="9afd8786-03fb-4f21-8c92-2c7d57f78c8c" providerId="ADAL" clId="{D98365F3-3FD0-40D5-B557-80CB254BB869}" dt="2026-02-26T06:19:26.010" v="424" actId="478"/>
          <ac:spMkLst>
            <pc:docMk/>
            <pc:sldMk cId="3692777124" sldId="2044"/>
            <ac:spMk id="15" creationId="{EC1CE543-3513-F1FB-89C7-FC91AA6334E4}"/>
          </ac:spMkLst>
        </pc:spChg>
        <pc:spChg chg="mod">
          <ac:chgData name="春見 萌" userId="9afd8786-03fb-4f21-8c92-2c7d57f78c8c" providerId="ADAL" clId="{D98365F3-3FD0-40D5-B557-80CB254BB869}" dt="2026-02-26T06:19:53.265" v="447" actId="20577"/>
          <ac:spMkLst>
            <pc:docMk/>
            <pc:sldMk cId="3692777124" sldId="2044"/>
            <ac:spMk id="56" creationId="{915E5855-45E0-33C3-9923-577DD2B8C46D}"/>
          </ac:spMkLst>
        </pc:spChg>
        <pc:cxnChg chg="del">
          <ac:chgData name="春見 萌" userId="9afd8786-03fb-4f21-8c92-2c7d57f78c8c" providerId="ADAL" clId="{D98365F3-3FD0-40D5-B557-80CB254BB869}" dt="2026-02-26T06:19:24.086" v="423" actId="478"/>
          <ac:cxnSpMkLst>
            <pc:docMk/>
            <pc:sldMk cId="3692777124" sldId="2044"/>
            <ac:cxnSpMk id="13" creationId="{73865CEF-B298-BBF8-AF41-1A73988DCDE7}"/>
          </ac:cxnSpMkLst>
        </pc:cxnChg>
      </pc:sldChg>
      <pc:sldChg chg="addSp delSp modSp mod">
        <pc:chgData name="春見 萌" userId="9afd8786-03fb-4f21-8c92-2c7d57f78c8c" providerId="ADAL" clId="{D98365F3-3FD0-40D5-B557-80CB254BB869}" dt="2026-02-26T06:38:03.393" v="663" actId="1035"/>
        <pc:sldMkLst>
          <pc:docMk/>
          <pc:sldMk cId="2206337066" sldId="2045"/>
        </pc:sldMkLst>
        <pc:spChg chg="del">
          <ac:chgData name="春見 萌" userId="9afd8786-03fb-4f21-8c92-2c7d57f78c8c" providerId="ADAL" clId="{D98365F3-3FD0-40D5-B557-80CB254BB869}" dt="2026-02-26T06:36:32.799" v="624" actId="478"/>
          <ac:spMkLst>
            <pc:docMk/>
            <pc:sldMk cId="2206337066" sldId="2045"/>
            <ac:spMk id="3" creationId="{C81159BC-4C9F-C9FA-284E-1F8DEE967062}"/>
          </ac:spMkLst>
        </pc:spChg>
        <pc:spChg chg="add mod">
          <ac:chgData name="春見 萌" userId="9afd8786-03fb-4f21-8c92-2c7d57f78c8c" providerId="ADAL" clId="{D98365F3-3FD0-40D5-B557-80CB254BB869}" dt="2026-02-26T06:24:50.160" v="584"/>
          <ac:spMkLst>
            <pc:docMk/>
            <pc:sldMk cId="2206337066" sldId="2045"/>
            <ac:spMk id="4" creationId="{6379567B-6C5D-DEF1-0F0E-53131835E105}"/>
          </ac:spMkLst>
        </pc:spChg>
        <pc:spChg chg="mod">
          <ac:chgData name="春見 萌" userId="9afd8786-03fb-4f21-8c92-2c7d57f78c8c" providerId="ADAL" clId="{D98365F3-3FD0-40D5-B557-80CB254BB869}" dt="2026-02-26T06:38:03.393" v="663" actId="1035"/>
          <ac:spMkLst>
            <pc:docMk/>
            <pc:sldMk cId="2206337066" sldId="2045"/>
            <ac:spMk id="6" creationId="{1F48F448-5AF3-DBF0-A760-89D273E45E9C}"/>
          </ac:spMkLst>
        </pc:spChg>
        <pc:spChg chg="mod">
          <ac:chgData name="春見 萌" userId="9afd8786-03fb-4f21-8c92-2c7d57f78c8c" providerId="ADAL" clId="{D98365F3-3FD0-40D5-B557-80CB254BB869}" dt="2026-02-26T06:38:03.393" v="663" actId="1035"/>
          <ac:spMkLst>
            <pc:docMk/>
            <pc:sldMk cId="2206337066" sldId="2045"/>
            <ac:spMk id="7" creationId="{F39C56F9-E232-6FAD-E271-D29E1B529082}"/>
          </ac:spMkLst>
        </pc:spChg>
        <pc:spChg chg="mod">
          <ac:chgData name="春見 萌" userId="9afd8786-03fb-4f21-8c92-2c7d57f78c8c" providerId="ADAL" clId="{D98365F3-3FD0-40D5-B557-80CB254BB869}" dt="2026-02-26T06:38:03.393" v="663" actId="1035"/>
          <ac:spMkLst>
            <pc:docMk/>
            <pc:sldMk cId="2206337066" sldId="2045"/>
            <ac:spMk id="11" creationId="{321CB4B4-C5C0-3F76-39E3-5A5759EEF6DB}"/>
          </ac:spMkLst>
        </pc:spChg>
        <pc:spChg chg="add mod">
          <ac:chgData name="春見 萌" userId="9afd8786-03fb-4f21-8c92-2c7d57f78c8c" providerId="ADAL" clId="{D98365F3-3FD0-40D5-B557-80CB254BB869}" dt="2026-02-26T06:24:50.160" v="584"/>
          <ac:spMkLst>
            <pc:docMk/>
            <pc:sldMk cId="2206337066" sldId="2045"/>
            <ac:spMk id="12" creationId="{B3B04E96-5D2F-B98E-135F-631E6ECA239A}"/>
          </ac:spMkLst>
        </pc:spChg>
        <pc:spChg chg="mod">
          <ac:chgData name="春見 萌" userId="9afd8786-03fb-4f21-8c92-2c7d57f78c8c" providerId="ADAL" clId="{D98365F3-3FD0-40D5-B557-80CB254BB869}" dt="2026-02-26T06:38:03.393" v="663" actId="1035"/>
          <ac:spMkLst>
            <pc:docMk/>
            <pc:sldMk cId="2206337066" sldId="2045"/>
            <ac:spMk id="16" creationId="{A3E2CA0D-0742-2E18-6A47-7114E043B308}"/>
          </ac:spMkLst>
        </pc:spChg>
        <pc:spChg chg="del">
          <ac:chgData name="春見 萌" userId="9afd8786-03fb-4f21-8c92-2c7d57f78c8c" providerId="ADAL" clId="{D98365F3-3FD0-40D5-B557-80CB254BB869}" dt="2026-02-26T06:36:43.532" v="625" actId="478"/>
          <ac:spMkLst>
            <pc:docMk/>
            <pc:sldMk cId="2206337066" sldId="2045"/>
            <ac:spMk id="17" creationId="{93398772-895D-9ABE-7079-8D57CB8D0D98}"/>
          </ac:spMkLst>
        </pc:spChg>
        <pc:spChg chg="mod">
          <ac:chgData name="春見 萌" userId="9afd8786-03fb-4f21-8c92-2c7d57f78c8c" providerId="ADAL" clId="{D98365F3-3FD0-40D5-B557-80CB254BB869}" dt="2026-02-26T06:38:03.393" v="663" actId="1035"/>
          <ac:spMkLst>
            <pc:docMk/>
            <pc:sldMk cId="2206337066" sldId="2045"/>
            <ac:spMk id="19" creationId="{70655089-C22E-1EE4-6F68-B206036D0154}"/>
          </ac:spMkLst>
        </pc:spChg>
        <pc:spChg chg="del">
          <ac:chgData name="春見 萌" userId="9afd8786-03fb-4f21-8c92-2c7d57f78c8c" providerId="ADAL" clId="{D98365F3-3FD0-40D5-B557-80CB254BB869}" dt="2026-02-26T06:24:53.868" v="585" actId="478"/>
          <ac:spMkLst>
            <pc:docMk/>
            <pc:sldMk cId="2206337066" sldId="2045"/>
            <ac:spMk id="23" creationId="{B8484F05-D4D7-EA0C-9DA3-9C8118D2EE9D}"/>
          </ac:spMkLst>
        </pc:spChg>
        <pc:spChg chg="del">
          <ac:chgData name="春見 萌" userId="9afd8786-03fb-4f21-8c92-2c7d57f78c8c" providerId="ADAL" clId="{D98365F3-3FD0-40D5-B557-80CB254BB869}" dt="2026-02-26T06:24:58.939" v="587" actId="478"/>
          <ac:spMkLst>
            <pc:docMk/>
            <pc:sldMk cId="2206337066" sldId="2045"/>
            <ac:spMk id="24" creationId="{B96E5E66-1CCE-A355-4BEC-3E985C2AB754}"/>
          </ac:spMkLst>
        </pc:spChg>
        <pc:spChg chg="mod">
          <ac:chgData name="春見 萌" userId="9afd8786-03fb-4f21-8c92-2c7d57f78c8c" providerId="ADAL" clId="{D98365F3-3FD0-40D5-B557-80CB254BB869}" dt="2026-02-26T06:38:03.393" v="663" actId="1035"/>
          <ac:spMkLst>
            <pc:docMk/>
            <pc:sldMk cId="2206337066" sldId="2045"/>
            <ac:spMk id="43" creationId="{FC694465-EA88-D34E-0602-599AA3054AD7}"/>
          </ac:spMkLst>
        </pc:spChg>
        <pc:spChg chg="mod">
          <ac:chgData name="春見 萌" userId="9afd8786-03fb-4f21-8c92-2c7d57f78c8c" providerId="ADAL" clId="{D98365F3-3FD0-40D5-B557-80CB254BB869}" dt="2026-02-26T06:38:03.393" v="663" actId="1035"/>
          <ac:spMkLst>
            <pc:docMk/>
            <pc:sldMk cId="2206337066" sldId="2045"/>
            <ac:spMk id="44" creationId="{2062E521-40F8-8C99-5A77-EDC1E54786B5}"/>
          </ac:spMkLst>
        </pc:spChg>
        <pc:spChg chg="mod">
          <ac:chgData name="春見 萌" userId="9afd8786-03fb-4f21-8c92-2c7d57f78c8c" providerId="ADAL" clId="{D98365F3-3FD0-40D5-B557-80CB254BB869}" dt="2026-02-26T06:38:03.393" v="663" actId="1035"/>
          <ac:spMkLst>
            <pc:docMk/>
            <pc:sldMk cId="2206337066" sldId="2045"/>
            <ac:spMk id="45" creationId="{333F8956-FCB1-DB4B-C29A-38DCC73EABE1}"/>
          </ac:spMkLst>
        </pc:spChg>
        <pc:spChg chg="mod">
          <ac:chgData name="春見 萌" userId="9afd8786-03fb-4f21-8c92-2c7d57f78c8c" providerId="ADAL" clId="{D98365F3-3FD0-40D5-B557-80CB254BB869}" dt="2026-02-26T06:38:03.393" v="663" actId="1035"/>
          <ac:spMkLst>
            <pc:docMk/>
            <pc:sldMk cId="2206337066" sldId="2045"/>
            <ac:spMk id="46" creationId="{19FE5652-343A-E4E3-7D40-1D0E228186B2}"/>
          </ac:spMkLst>
        </pc:spChg>
        <pc:spChg chg="mod">
          <ac:chgData name="春見 萌" userId="9afd8786-03fb-4f21-8c92-2c7d57f78c8c" providerId="ADAL" clId="{D98365F3-3FD0-40D5-B557-80CB254BB869}" dt="2026-02-26T06:38:03.393" v="663" actId="1035"/>
          <ac:spMkLst>
            <pc:docMk/>
            <pc:sldMk cId="2206337066" sldId="2045"/>
            <ac:spMk id="52" creationId="{31CAB318-2888-D004-8A02-AF563D1B21ED}"/>
          </ac:spMkLst>
        </pc:spChg>
        <pc:spChg chg="del">
          <ac:chgData name="春見 萌" userId="9afd8786-03fb-4f21-8c92-2c7d57f78c8c" providerId="ADAL" clId="{D98365F3-3FD0-40D5-B557-80CB254BB869}" dt="2026-02-26T06:36:32.799" v="624" actId="478"/>
          <ac:spMkLst>
            <pc:docMk/>
            <pc:sldMk cId="2206337066" sldId="2045"/>
            <ac:spMk id="105" creationId="{27CFC5DF-CF46-5A6C-8A42-BD1BBED895C3}"/>
          </ac:spMkLst>
        </pc:spChg>
        <pc:spChg chg="del">
          <ac:chgData name="春見 萌" userId="9afd8786-03fb-4f21-8c92-2c7d57f78c8c" providerId="ADAL" clId="{D98365F3-3FD0-40D5-B557-80CB254BB869}" dt="2026-02-26T06:36:32.799" v="624" actId="478"/>
          <ac:spMkLst>
            <pc:docMk/>
            <pc:sldMk cId="2206337066" sldId="2045"/>
            <ac:spMk id="106" creationId="{F74D78D7-3BA5-1852-9BF3-B58186CC1BFA}"/>
          </ac:spMkLst>
        </pc:spChg>
        <pc:spChg chg="del">
          <ac:chgData name="春見 萌" userId="9afd8786-03fb-4f21-8c92-2c7d57f78c8c" providerId="ADAL" clId="{D98365F3-3FD0-40D5-B557-80CB254BB869}" dt="2026-02-26T06:36:43.532" v="625" actId="478"/>
          <ac:spMkLst>
            <pc:docMk/>
            <pc:sldMk cId="2206337066" sldId="2045"/>
            <ac:spMk id="107" creationId="{5C301EF4-C631-954B-F631-B3F869E0BB5B}"/>
          </ac:spMkLst>
        </pc:spChg>
        <pc:spChg chg="del">
          <ac:chgData name="春見 萌" userId="9afd8786-03fb-4f21-8c92-2c7d57f78c8c" providerId="ADAL" clId="{D98365F3-3FD0-40D5-B557-80CB254BB869}" dt="2026-02-26T06:36:32.799" v="624" actId="478"/>
          <ac:spMkLst>
            <pc:docMk/>
            <pc:sldMk cId="2206337066" sldId="2045"/>
            <ac:spMk id="108" creationId="{0A8DA7DB-9C43-ABFC-E2D6-AE585F800DA4}"/>
          </ac:spMkLst>
        </pc:spChg>
        <pc:spChg chg="del">
          <ac:chgData name="春見 萌" userId="9afd8786-03fb-4f21-8c92-2c7d57f78c8c" providerId="ADAL" clId="{D98365F3-3FD0-40D5-B557-80CB254BB869}" dt="2026-02-26T06:36:43.532" v="625" actId="478"/>
          <ac:spMkLst>
            <pc:docMk/>
            <pc:sldMk cId="2206337066" sldId="2045"/>
            <ac:spMk id="111" creationId="{D832BA1C-85F3-06B1-690E-31FE80698544}"/>
          </ac:spMkLst>
        </pc:spChg>
        <pc:cxnChg chg="del">
          <ac:chgData name="春見 萌" userId="9afd8786-03fb-4f21-8c92-2c7d57f78c8c" providerId="ADAL" clId="{D98365F3-3FD0-40D5-B557-80CB254BB869}" dt="2026-02-26T06:24:56.535" v="586" actId="478"/>
          <ac:cxnSpMkLst>
            <pc:docMk/>
            <pc:sldMk cId="2206337066" sldId="2045"/>
            <ac:cxnSpMk id="50" creationId="{CAD9BFA4-4D83-965A-6B10-87B5A20AE65E}"/>
          </ac:cxnSpMkLst>
        </pc:cxnChg>
      </pc:sldChg>
      <pc:sldChg chg="delSp mod">
        <pc:chgData name="春見 萌" userId="9afd8786-03fb-4f21-8c92-2c7d57f78c8c" providerId="ADAL" clId="{D98365F3-3FD0-40D5-B557-80CB254BB869}" dt="2026-02-26T06:20:19.865" v="448" actId="478"/>
        <pc:sldMkLst>
          <pc:docMk/>
          <pc:sldMk cId="316286736" sldId="2049"/>
        </pc:sldMkLst>
        <pc:spChg chg="del">
          <ac:chgData name="春見 萌" userId="9afd8786-03fb-4f21-8c92-2c7d57f78c8c" providerId="ADAL" clId="{D98365F3-3FD0-40D5-B557-80CB254BB869}" dt="2026-02-26T06:20:19.865" v="448" actId="478"/>
          <ac:spMkLst>
            <pc:docMk/>
            <pc:sldMk cId="316286736" sldId="2049"/>
            <ac:spMk id="9" creationId="{98A87B20-CCB6-F835-9677-8F2EE5156233}"/>
          </ac:spMkLst>
        </pc:spChg>
        <pc:spChg chg="del">
          <ac:chgData name="春見 萌" userId="9afd8786-03fb-4f21-8c92-2c7d57f78c8c" providerId="ADAL" clId="{D98365F3-3FD0-40D5-B557-80CB254BB869}" dt="2026-02-26T06:20:19.865" v="448" actId="478"/>
          <ac:spMkLst>
            <pc:docMk/>
            <pc:sldMk cId="316286736" sldId="2049"/>
            <ac:spMk id="42" creationId="{B260853E-38B4-BB41-36E3-6A68A305D365}"/>
          </ac:spMkLst>
        </pc:spChg>
        <pc:spChg chg="del">
          <ac:chgData name="春見 萌" userId="9afd8786-03fb-4f21-8c92-2c7d57f78c8c" providerId="ADAL" clId="{D98365F3-3FD0-40D5-B557-80CB254BB869}" dt="2026-02-26T06:20:19.865" v="448" actId="478"/>
          <ac:spMkLst>
            <pc:docMk/>
            <pc:sldMk cId="316286736" sldId="2049"/>
            <ac:spMk id="43" creationId="{7ACB3CB1-6D41-2CE4-DAFF-38AFBDDA8315}"/>
          </ac:spMkLst>
        </pc:spChg>
        <pc:spChg chg="del">
          <ac:chgData name="春見 萌" userId="9afd8786-03fb-4f21-8c92-2c7d57f78c8c" providerId="ADAL" clId="{D98365F3-3FD0-40D5-B557-80CB254BB869}" dt="2026-02-26T06:20:19.865" v="448" actId="478"/>
          <ac:spMkLst>
            <pc:docMk/>
            <pc:sldMk cId="316286736" sldId="2049"/>
            <ac:spMk id="44" creationId="{B61BE952-4B50-F29E-54CE-6C76164632E9}"/>
          </ac:spMkLst>
        </pc:spChg>
      </pc:sldChg>
      <pc:sldChg chg="delSp mod">
        <pc:chgData name="春見 萌" userId="9afd8786-03fb-4f21-8c92-2c7d57f78c8c" providerId="ADAL" clId="{D98365F3-3FD0-40D5-B557-80CB254BB869}" dt="2026-02-26T06:20:29.295" v="450" actId="478"/>
        <pc:sldMkLst>
          <pc:docMk/>
          <pc:sldMk cId="2048520626" sldId="2050"/>
        </pc:sldMkLst>
        <pc:spChg chg="del">
          <ac:chgData name="春見 萌" userId="9afd8786-03fb-4f21-8c92-2c7d57f78c8c" providerId="ADAL" clId="{D98365F3-3FD0-40D5-B557-80CB254BB869}" dt="2026-02-26T06:20:29.295" v="450" actId="478"/>
          <ac:spMkLst>
            <pc:docMk/>
            <pc:sldMk cId="2048520626" sldId="2050"/>
            <ac:spMk id="25" creationId="{0FDE00D9-3C22-46C2-F998-92ED615BC4B5}"/>
          </ac:spMkLst>
        </pc:spChg>
        <pc:spChg chg="del">
          <ac:chgData name="春見 萌" userId="9afd8786-03fb-4f21-8c92-2c7d57f78c8c" providerId="ADAL" clId="{D98365F3-3FD0-40D5-B557-80CB254BB869}" dt="2026-02-26T06:20:29.295" v="450" actId="478"/>
          <ac:spMkLst>
            <pc:docMk/>
            <pc:sldMk cId="2048520626" sldId="2050"/>
            <ac:spMk id="42" creationId="{286D627E-CABE-6AC7-BC68-E01A0E4BEAC8}"/>
          </ac:spMkLst>
        </pc:spChg>
        <pc:spChg chg="del">
          <ac:chgData name="春見 萌" userId="9afd8786-03fb-4f21-8c92-2c7d57f78c8c" providerId="ADAL" clId="{D98365F3-3FD0-40D5-B557-80CB254BB869}" dt="2026-02-26T06:20:25.788" v="449" actId="478"/>
          <ac:spMkLst>
            <pc:docMk/>
            <pc:sldMk cId="2048520626" sldId="2050"/>
            <ac:spMk id="43" creationId="{0116D5D4-9113-436B-8975-4DC6EBB286C1}"/>
          </ac:spMkLst>
        </pc:spChg>
        <pc:spChg chg="del">
          <ac:chgData name="春見 萌" userId="9afd8786-03fb-4f21-8c92-2c7d57f78c8c" providerId="ADAL" clId="{D98365F3-3FD0-40D5-B557-80CB254BB869}" dt="2026-02-26T06:20:25.788" v="449" actId="478"/>
          <ac:spMkLst>
            <pc:docMk/>
            <pc:sldMk cId="2048520626" sldId="2050"/>
            <ac:spMk id="44" creationId="{7A922492-E502-41C2-790A-B6C900321AEE}"/>
          </ac:spMkLst>
        </pc:spChg>
      </pc:sldChg>
      <pc:sldChg chg="addSp delSp modSp mod">
        <pc:chgData name="春見 萌" userId="9afd8786-03fb-4f21-8c92-2c7d57f78c8c" providerId="ADAL" clId="{D98365F3-3FD0-40D5-B557-80CB254BB869}" dt="2026-02-26T06:35:49.697" v="618" actId="478"/>
        <pc:sldMkLst>
          <pc:docMk/>
          <pc:sldMk cId="779528774" sldId="2051"/>
        </pc:sldMkLst>
        <pc:spChg chg="add mod">
          <ac:chgData name="春見 萌" userId="9afd8786-03fb-4f21-8c92-2c7d57f78c8c" providerId="ADAL" clId="{D98365F3-3FD0-40D5-B557-80CB254BB869}" dt="2026-02-26T06:21:31.618" v="461"/>
          <ac:spMkLst>
            <pc:docMk/>
            <pc:sldMk cId="779528774" sldId="2051"/>
            <ac:spMk id="2" creationId="{41287A46-C62B-678F-715D-6ED0B5C496CE}"/>
          </ac:spMkLst>
        </pc:spChg>
        <pc:spChg chg="add del mod">
          <ac:chgData name="春見 萌" userId="9afd8786-03fb-4f21-8c92-2c7d57f78c8c" providerId="ADAL" clId="{D98365F3-3FD0-40D5-B557-80CB254BB869}" dt="2026-02-26T06:35:36.090" v="617" actId="478"/>
          <ac:spMkLst>
            <pc:docMk/>
            <pc:sldMk cId="779528774" sldId="2051"/>
            <ac:spMk id="3" creationId="{4D6929E3-1EAB-6870-FE51-3F2349C82FCE}"/>
          </ac:spMkLst>
        </pc:spChg>
        <pc:spChg chg="mod">
          <ac:chgData name="春見 萌" userId="9afd8786-03fb-4f21-8c92-2c7d57f78c8c" providerId="ADAL" clId="{D98365F3-3FD0-40D5-B557-80CB254BB869}" dt="2026-02-26T06:22:28.031" v="514" actId="1035"/>
          <ac:spMkLst>
            <pc:docMk/>
            <pc:sldMk cId="779528774" sldId="2051"/>
            <ac:spMk id="7" creationId="{AD23CC6E-2299-03B2-E581-8E7649341A4A}"/>
          </ac:spMkLst>
        </pc:spChg>
        <pc:spChg chg="mod">
          <ac:chgData name="春見 萌" userId="9afd8786-03fb-4f21-8c92-2c7d57f78c8c" providerId="ADAL" clId="{D98365F3-3FD0-40D5-B557-80CB254BB869}" dt="2026-02-26T06:21:14.882" v="460" actId="20577"/>
          <ac:spMkLst>
            <pc:docMk/>
            <pc:sldMk cId="779528774" sldId="2051"/>
            <ac:spMk id="8" creationId="{100B3684-D8F0-F564-566A-702E3A3F5588}"/>
          </ac:spMkLst>
        </pc:spChg>
        <pc:spChg chg="mod">
          <ac:chgData name="春見 萌" userId="9afd8786-03fb-4f21-8c92-2c7d57f78c8c" providerId="ADAL" clId="{D98365F3-3FD0-40D5-B557-80CB254BB869}" dt="2026-02-26T06:21:55.183" v="483" actId="1035"/>
          <ac:spMkLst>
            <pc:docMk/>
            <pc:sldMk cId="779528774" sldId="2051"/>
            <ac:spMk id="9" creationId="{B2901DAA-3107-4575-877D-27EEE0DDA0FE}"/>
          </ac:spMkLst>
        </pc:spChg>
        <pc:spChg chg="add mod">
          <ac:chgData name="春見 萌" userId="9afd8786-03fb-4f21-8c92-2c7d57f78c8c" providerId="ADAL" clId="{D98365F3-3FD0-40D5-B557-80CB254BB869}" dt="2026-02-26T06:21:49.775" v="481" actId="1035"/>
          <ac:spMkLst>
            <pc:docMk/>
            <pc:sldMk cId="779528774" sldId="2051"/>
            <ac:spMk id="11" creationId="{C29DEEF0-D9A7-D561-40FF-AACC78F216D2}"/>
          </ac:spMkLst>
        </pc:spChg>
        <pc:spChg chg="mod">
          <ac:chgData name="春見 萌" userId="9afd8786-03fb-4f21-8c92-2c7d57f78c8c" providerId="ADAL" clId="{D98365F3-3FD0-40D5-B557-80CB254BB869}" dt="2026-02-26T06:22:28.031" v="514" actId="1035"/>
          <ac:spMkLst>
            <pc:docMk/>
            <pc:sldMk cId="779528774" sldId="2051"/>
            <ac:spMk id="12" creationId="{286735E9-D80D-03F0-71C2-51E0C84E54C5}"/>
          </ac:spMkLst>
        </pc:spChg>
        <pc:spChg chg="mod">
          <ac:chgData name="春見 萌" userId="9afd8786-03fb-4f21-8c92-2c7d57f78c8c" providerId="ADAL" clId="{D98365F3-3FD0-40D5-B557-80CB254BB869}" dt="2026-02-26T06:22:28.031" v="514" actId="1035"/>
          <ac:spMkLst>
            <pc:docMk/>
            <pc:sldMk cId="779528774" sldId="2051"/>
            <ac:spMk id="13" creationId="{ECA57F48-656B-47D0-373D-14C48A32D6C4}"/>
          </ac:spMkLst>
        </pc:spChg>
        <pc:spChg chg="mod">
          <ac:chgData name="春見 萌" userId="9afd8786-03fb-4f21-8c92-2c7d57f78c8c" providerId="ADAL" clId="{D98365F3-3FD0-40D5-B557-80CB254BB869}" dt="2026-02-26T06:22:28.031" v="514" actId="1035"/>
          <ac:spMkLst>
            <pc:docMk/>
            <pc:sldMk cId="779528774" sldId="2051"/>
            <ac:spMk id="16" creationId="{FC8359A7-C5EF-16D4-31EC-6F401233D3D1}"/>
          </ac:spMkLst>
        </pc:spChg>
        <pc:spChg chg="add del mod">
          <ac:chgData name="春見 萌" userId="9afd8786-03fb-4f21-8c92-2c7d57f78c8c" providerId="ADAL" clId="{D98365F3-3FD0-40D5-B557-80CB254BB869}" dt="2026-02-26T06:35:36.090" v="617" actId="478"/>
          <ac:spMkLst>
            <pc:docMk/>
            <pc:sldMk cId="779528774" sldId="2051"/>
            <ac:spMk id="17" creationId="{57489EFF-CDA3-9A56-439B-D22876F1082F}"/>
          </ac:spMkLst>
        </pc:spChg>
        <pc:spChg chg="mod">
          <ac:chgData name="春見 萌" userId="9afd8786-03fb-4f21-8c92-2c7d57f78c8c" providerId="ADAL" clId="{D98365F3-3FD0-40D5-B557-80CB254BB869}" dt="2026-02-26T06:21:55.183" v="483" actId="1035"/>
          <ac:spMkLst>
            <pc:docMk/>
            <pc:sldMk cId="779528774" sldId="2051"/>
            <ac:spMk id="20" creationId="{246DA7F3-FCE0-9730-3E87-5199F6F4B391}"/>
          </ac:spMkLst>
        </pc:spChg>
        <pc:spChg chg="mod">
          <ac:chgData name="春見 萌" userId="9afd8786-03fb-4f21-8c92-2c7d57f78c8c" providerId="ADAL" clId="{D98365F3-3FD0-40D5-B557-80CB254BB869}" dt="2026-02-26T06:20:35.469" v="451" actId="1076"/>
          <ac:spMkLst>
            <pc:docMk/>
            <pc:sldMk cId="779528774" sldId="2051"/>
            <ac:spMk id="21" creationId="{EB5C36CC-E567-4F54-705A-CC116E989AC1}"/>
          </ac:spMkLst>
        </pc:spChg>
        <pc:spChg chg="del mod">
          <ac:chgData name="春見 萌" userId="9afd8786-03fb-4f21-8c92-2c7d57f78c8c" providerId="ADAL" clId="{D98365F3-3FD0-40D5-B557-80CB254BB869}" dt="2026-02-26T06:21:39.346" v="462" actId="478"/>
          <ac:spMkLst>
            <pc:docMk/>
            <pc:sldMk cId="779528774" sldId="2051"/>
            <ac:spMk id="23" creationId="{B1726190-5C90-0EEC-7979-CC342ABB03A8}"/>
          </ac:spMkLst>
        </pc:spChg>
        <pc:spChg chg="del">
          <ac:chgData name="春見 萌" userId="9afd8786-03fb-4f21-8c92-2c7d57f78c8c" providerId="ADAL" clId="{D98365F3-3FD0-40D5-B557-80CB254BB869}" dt="2026-02-26T06:21:39.346" v="462" actId="478"/>
          <ac:spMkLst>
            <pc:docMk/>
            <pc:sldMk cId="779528774" sldId="2051"/>
            <ac:spMk id="24" creationId="{2E616D88-6B9A-3B95-CC9F-E6EEF89314BC}"/>
          </ac:spMkLst>
        </pc:spChg>
        <pc:spChg chg="mod">
          <ac:chgData name="春見 萌" userId="9afd8786-03fb-4f21-8c92-2c7d57f78c8c" providerId="ADAL" clId="{D98365F3-3FD0-40D5-B557-80CB254BB869}" dt="2026-02-26T06:22:28.031" v="514" actId="1035"/>
          <ac:spMkLst>
            <pc:docMk/>
            <pc:sldMk cId="779528774" sldId="2051"/>
            <ac:spMk id="44" creationId="{CDC0666C-6DDD-F8C5-B05D-7B52B954F732}"/>
          </ac:spMkLst>
        </pc:spChg>
        <pc:spChg chg="mod">
          <ac:chgData name="春見 萌" userId="9afd8786-03fb-4f21-8c92-2c7d57f78c8c" providerId="ADAL" clId="{D98365F3-3FD0-40D5-B557-80CB254BB869}" dt="2026-02-26T06:22:28.031" v="514" actId="1035"/>
          <ac:spMkLst>
            <pc:docMk/>
            <pc:sldMk cId="779528774" sldId="2051"/>
            <ac:spMk id="45" creationId="{B43F5D0E-974D-7F02-7CE5-926E15911FEE}"/>
          </ac:spMkLst>
        </pc:spChg>
        <pc:spChg chg="add del">
          <ac:chgData name="春見 萌" userId="9afd8786-03fb-4f21-8c92-2c7d57f78c8c" providerId="ADAL" clId="{D98365F3-3FD0-40D5-B557-80CB254BB869}" dt="2026-02-26T06:35:36.090" v="617" actId="478"/>
          <ac:spMkLst>
            <pc:docMk/>
            <pc:sldMk cId="779528774" sldId="2051"/>
            <ac:spMk id="106" creationId="{56EDB496-9073-D1F3-9869-BF9239E20FF5}"/>
          </ac:spMkLst>
        </pc:spChg>
        <pc:spChg chg="add del mod">
          <ac:chgData name="春見 萌" userId="9afd8786-03fb-4f21-8c92-2c7d57f78c8c" providerId="ADAL" clId="{D98365F3-3FD0-40D5-B557-80CB254BB869}" dt="2026-02-26T06:35:49.697" v="618" actId="478"/>
          <ac:spMkLst>
            <pc:docMk/>
            <pc:sldMk cId="779528774" sldId="2051"/>
            <ac:spMk id="107" creationId="{45DB1186-AEFD-E361-E755-36AA52629DA9}"/>
          </ac:spMkLst>
        </pc:spChg>
        <pc:spChg chg="add del mod">
          <ac:chgData name="春見 萌" userId="9afd8786-03fb-4f21-8c92-2c7d57f78c8c" providerId="ADAL" clId="{D98365F3-3FD0-40D5-B557-80CB254BB869}" dt="2026-02-26T06:35:36.090" v="617" actId="478"/>
          <ac:spMkLst>
            <pc:docMk/>
            <pc:sldMk cId="779528774" sldId="2051"/>
            <ac:spMk id="108" creationId="{95580067-11C1-46D4-8652-177C800BCD58}"/>
          </ac:spMkLst>
        </pc:spChg>
        <pc:spChg chg="add del mod">
          <ac:chgData name="春見 萌" userId="9afd8786-03fb-4f21-8c92-2c7d57f78c8c" providerId="ADAL" clId="{D98365F3-3FD0-40D5-B557-80CB254BB869}" dt="2026-02-26T06:35:49.697" v="618" actId="478"/>
          <ac:spMkLst>
            <pc:docMk/>
            <pc:sldMk cId="779528774" sldId="2051"/>
            <ac:spMk id="109" creationId="{25DC53D0-5533-E58B-C107-8EE730262C27}"/>
          </ac:spMkLst>
        </pc:spChg>
        <pc:spChg chg="del mod">
          <ac:chgData name="春見 萌" userId="9afd8786-03fb-4f21-8c92-2c7d57f78c8c" providerId="ADAL" clId="{D98365F3-3FD0-40D5-B557-80CB254BB869}" dt="2026-02-26T06:35:49.697" v="618" actId="478"/>
          <ac:spMkLst>
            <pc:docMk/>
            <pc:sldMk cId="779528774" sldId="2051"/>
            <ac:spMk id="111" creationId="{918AD567-8AAC-2E70-3C47-C22D99E0A769}"/>
          </ac:spMkLst>
        </pc:spChg>
        <pc:cxnChg chg="del">
          <ac:chgData name="春見 萌" userId="9afd8786-03fb-4f21-8c92-2c7d57f78c8c" providerId="ADAL" clId="{D98365F3-3FD0-40D5-B557-80CB254BB869}" dt="2026-02-26T06:21:39.346" v="462" actId="478"/>
          <ac:cxnSpMkLst>
            <pc:docMk/>
            <pc:sldMk cId="779528774" sldId="2051"/>
            <ac:cxnSpMk id="50" creationId="{C1B4B1FE-870F-6023-000C-FA64C900BF3A}"/>
          </ac:cxnSpMkLst>
        </pc:cxnChg>
      </pc:sldChg>
      <pc:sldChg chg="addSp delSp modSp mod">
        <pc:chgData name="春見 萌" userId="9afd8786-03fb-4f21-8c92-2c7d57f78c8c" providerId="ADAL" clId="{D98365F3-3FD0-40D5-B557-80CB254BB869}" dt="2026-02-26T06:36:07.125" v="621" actId="20577"/>
        <pc:sldMkLst>
          <pc:docMk/>
          <pc:sldMk cId="586329683" sldId="2053"/>
        </pc:sldMkLst>
        <pc:spChg chg="del">
          <ac:chgData name="春見 萌" userId="9afd8786-03fb-4f21-8c92-2c7d57f78c8c" providerId="ADAL" clId="{D98365F3-3FD0-40D5-B557-80CB254BB869}" dt="2026-02-26T06:22:45.881" v="516" actId="478"/>
          <ac:spMkLst>
            <pc:docMk/>
            <pc:sldMk cId="586329683" sldId="2053"/>
            <ac:spMk id="2" creationId="{2051787E-0E5A-FF68-87E0-9ADB8B4F187C}"/>
          </ac:spMkLst>
        </pc:spChg>
        <pc:spChg chg="add mod">
          <ac:chgData name="春見 萌" userId="9afd8786-03fb-4f21-8c92-2c7d57f78c8c" providerId="ADAL" clId="{D98365F3-3FD0-40D5-B557-80CB254BB869}" dt="2026-02-26T06:22:37.842" v="515"/>
          <ac:spMkLst>
            <pc:docMk/>
            <pc:sldMk cId="586329683" sldId="2053"/>
            <ac:spMk id="3" creationId="{AAA4A6F7-A690-21F9-F952-98BC950CC5EB}"/>
          </ac:spMkLst>
        </pc:spChg>
        <pc:spChg chg="del mod">
          <ac:chgData name="春見 萌" userId="9afd8786-03fb-4f21-8c92-2c7d57f78c8c" providerId="ADAL" clId="{D98365F3-3FD0-40D5-B557-80CB254BB869}" dt="2026-02-26T06:35:54.032" v="619" actId="478"/>
          <ac:spMkLst>
            <pc:docMk/>
            <pc:sldMk cId="586329683" sldId="2053"/>
            <ac:spMk id="7" creationId="{7786754B-137F-BE95-43ED-F7B52015D7B2}"/>
          </ac:spMkLst>
        </pc:spChg>
        <pc:spChg chg="mod">
          <ac:chgData name="春見 萌" userId="9afd8786-03fb-4f21-8c92-2c7d57f78c8c" providerId="ADAL" clId="{D98365F3-3FD0-40D5-B557-80CB254BB869}" dt="2026-02-26T06:24:08.163" v="539" actId="1035"/>
          <ac:spMkLst>
            <pc:docMk/>
            <pc:sldMk cId="586329683" sldId="2053"/>
            <ac:spMk id="8" creationId="{9EF29EB9-15E3-2128-9E82-BC70B44E771F}"/>
          </ac:spMkLst>
        </pc:spChg>
        <pc:spChg chg="add mod">
          <ac:chgData name="春見 萌" userId="9afd8786-03fb-4f21-8c92-2c7d57f78c8c" providerId="ADAL" clId="{D98365F3-3FD0-40D5-B557-80CB254BB869}" dt="2026-02-26T06:22:37.842" v="515"/>
          <ac:spMkLst>
            <pc:docMk/>
            <pc:sldMk cId="586329683" sldId="2053"/>
            <ac:spMk id="10" creationId="{A6CC852B-3DC7-3B16-2FC4-844664F185CE}"/>
          </ac:spMkLst>
        </pc:spChg>
        <pc:spChg chg="mod">
          <ac:chgData name="春見 萌" userId="9afd8786-03fb-4f21-8c92-2c7d57f78c8c" providerId="ADAL" clId="{D98365F3-3FD0-40D5-B557-80CB254BB869}" dt="2026-02-26T06:24:08.163" v="539" actId="1035"/>
          <ac:spMkLst>
            <pc:docMk/>
            <pc:sldMk cId="586329683" sldId="2053"/>
            <ac:spMk id="11" creationId="{0AE5BA20-E939-4738-3B4D-B5C7258C1A51}"/>
          </ac:spMkLst>
        </pc:spChg>
        <pc:spChg chg="del">
          <ac:chgData name="春見 萌" userId="9afd8786-03fb-4f21-8c92-2c7d57f78c8c" providerId="ADAL" clId="{D98365F3-3FD0-40D5-B557-80CB254BB869}" dt="2026-02-26T06:22:45.881" v="516" actId="478"/>
          <ac:spMkLst>
            <pc:docMk/>
            <pc:sldMk cId="586329683" sldId="2053"/>
            <ac:spMk id="12" creationId="{F3D3E864-1090-21B4-EFBD-8FEFA04B2961}"/>
          </ac:spMkLst>
        </pc:spChg>
        <pc:spChg chg="mod">
          <ac:chgData name="春見 萌" userId="9afd8786-03fb-4f21-8c92-2c7d57f78c8c" providerId="ADAL" clId="{D98365F3-3FD0-40D5-B557-80CB254BB869}" dt="2026-02-26T06:24:08.163" v="539" actId="1035"/>
          <ac:spMkLst>
            <pc:docMk/>
            <pc:sldMk cId="586329683" sldId="2053"/>
            <ac:spMk id="17" creationId="{316AE0C3-08A2-DCF9-512B-A6ACA78EEB39}"/>
          </ac:spMkLst>
        </pc:spChg>
        <pc:spChg chg="mod">
          <ac:chgData name="春見 萌" userId="9afd8786-03fb-4f21-8c92-2c7d57f78c8c" providerId="ADAL" clId="{D98365F3-3FD0-40D5-B557-80CB254BB869}" dt="2026-02-26T06:24:08.163" v="539" actId="1035"/>
          <ac:spMkLst>
            <pc:docMk/>
            <pc:sldMk cId="586329683" sldId="2053"/>
            <ac:spMk id="18" creationId="{3E1A8D5D-5890-6F5E-CDAC-93A2CAD372D8}"/>
          </ac:spMkLst>
        </pc:spChg>
        <pc:spChg chg="mod">
          <ac:chgData name="春見 萌" userId="9afd8786-03fb-4f21-8c92-2c7d57f78c8c" providerId="ADAL" clId="{D98365F3-3FD0-40D5-B557-80CB254BB869}" dt="2026-02-26T06:36:07.125" v="621" actId="20577"/>
          <ac:spMkLst>
            <pc:docMk/>
            <pc:sldMk cId="586329683" sldId="2053"/>
            <ac:spMk id="19" creationId="{D4FB734F-255C-5975-75BD-7DD47198FFF3}"/>
          </ac:spMkLst>
        </pc:spChg>
        <pc:spChg chg="mod">
          <ac:chgData name="春見 萌" userId="9afd8786-03fb-4f21-8c92-2c7d57f78c8c" providerId="ADAL" clId="{D98365F3-3FD0-40D5-B557-80CB254BB869}" dt="2026-02-26T06:24:08.163" v="539" actId="1035"/>
          <ac:spMkLst>
            <pc:docMk/>
            <pc:sldMk cId="586329683" sldId="2053"/>
            <ac:spMk id="24" creationId="{166D1285-0C1D-C89A-09E4-63E03676FB1B}"/>
          </ac:spMkLst>
        </pc:spChg>
        <pc:spChg chg="mod">
          <ac:chgData name="春見 萌" userId="9afd8786-03fb-4f21-8c92-2c7d57f78c8c" providerId="ADAL" clId="{D98365F3-3FD0-40D5-B557-80CB254BB869}" dt="2026-02-26T06:24:08.163" v="539" actId="1035"/>
          <ac:spMkLst>
            <pc:docMk/>
            <pc:sldMk cId="586329683" sldId="2053"/>
            <ac:spMk id="27" creationId="{ACEB70F6-A0E8-B424-4231-E0249635591C}"/>
          </ac:spMkLst>
        </pc:spChg>
        <pc:spChg chg="mod">
          <ac:chgData name="春見 萌" userId="9afd8786-03fb-4f21-8c92-2c7d57f78c8c" providerId="ADAL" clId="{D98365F3-3FD0-40D5-B557-80CB254BB869}" dt="2026-02-26T06:24:08.163" v="539" actId="1035"/>
          <ac:spMkLst>
            <pc:docMk/>
            <pc:sldMk cId="586329683" sldId="2053"/>
            <ac:spMk id="28" creationId="{6352E770-6704-3EC8-6335-3F2B4AE9A27F}"/>
          </ac:spMkLst>
        </pc:spChg>
        <pc:spChg chg="mod">
          <ac:chgData name="春見 萌" userId="9afd8786-03fb-4f21-8c92-2c7d57f78c8c" providerId="ADAL" clId="{D98365F3-3FD0-40D5-B557-80CB254BB869}" dt="2026-02-26T06:24:08.163" v="539" actId="1035"/>
          <ac:spMkLst>
            <pc:docMk/>
            <pc:sldMk cId="586329683" sldId="2053"/>
            <ac:spMk id="30" creationId="{FB79D025-7608-76D3-4A6D-A1F689BCF311}"/>
          </ac:spMkLst>
        </pc:spChg>
        <pc:spChg chg="mod">
          <ac:chgData name="春見 萌" userId="9afd8786-03fb-4f21-8c92-2c7d57f78c8c" providerId="ADAL" clId="{D98365F3-3FD0-40D5-B557-80CB254BB869}" dt="2026-02-26T06:24:08.163" v="539" actId="1035"/>
          <ac:spMkLst>
            <pc:docMk/>
            <pc:sldMk cId="586329683" sldId="2053"/>
            <ac:spMk id="56" creationId="{822935F0-2B57-D5DA-4D03-B6DD2A6F91E9}"/>
          </ac:spMkLst>
        </pc:spChg>
        <pc:cxnChg chg="del">
          <ac:chgData name="春見 萌" userId="9afd8786-03fb-4f21-8c92-2c7d57f78c8c" providerId="ADAL" clId="{D98365F3-3FD0-40D5-B557-80CB254BB869}" dt="2026-02-26T06:22:45.881" v="516" actId="478"/>
          <ac:cxnSpMkLst>
            <pc:docMk/>
            <pc:sldMk cId="586329683" sldId="2053"/>
            <ac:cxnSpMk id="13" creationId="{D91081F4-50B0-7DFA-7FC9-39646549A9D4}"/>
          </ac:cxnSpMkLst>
        </pc:cxnChg>
      </pc:sldChg>
      <pc:sldChg chg="addSp delSp modSp mod">
        <pc:chgData name="春見 萌" userId="9afd8786-03fb-4f21-8c92-2c7d57f78c8c" providerId="ADAL" clId="{D98365F3-3FD0-40D5-B557-80CB254BB869}" dt="2026-02-26T06:36:52.868" v="627" actId="478"/>
        <pc:sldMkLst>
          <pc:docMk/>
          <pc:sldMk cId="2069976121" sldId="2054"/>
        </pc:sldMkLst>
        <pc:spChg chg="del">
          <ac:chgData name="春見 萌" userId="9afd8786-03fb-4f21-8c92-2c7d57f78c8c" providerId="ADAL" clId="{D98365F3-3FD0-40D5-B557-80CB254BB869}" dt="2026-02-26T06:25:04.661" v="589" actId="478"/>
          <ac:spMkLst>
            <pc:docMk/>
            <pc:sldMk cId="2069976121" sldId="2054"/>
            <ac:spMk id="2" creationId="{F01ABBBD-F47C-6A7B-6841-19325C6109DE}"/>
          </ac:spMkLst>
        </pc:spChg>
        <pc:spChg chg="mod">
          <ac:chgData name="春見 萌" userId="9afd8786-03fb-4f21-8c92-2c7d57f78c8c" providerId="ADAL" clId="{D98365F3-3FD0-40D5-B557-80CB254BB869}" dt="2026-02-26T06:25:18.986" v="616" actId="1035"/>
          <ac:spMkLst>
            <pc:docMk/>
            <pc:sldMk cId="2069976121" sldId="2054"/>
            <ac:spMk id="6" creationId="{C413BA5C-594F-2300-D410-F70E3B48E49C}"/>
          </ac:spMkLst>
        </pc:spChg>
        <pc:spChg chg="mod">
          <ac:chgData name="春見 萌" userId="9afd8786-03fb-4f21-8c92-2c7d57f78c8c" providerId="ADAL" clId="{D98365F3-3FD0-40D5-B557-80CB254BB869}" dt="2026-02-26T06:25:18.986" v="616" actId="1035"/>
          <ac:spMkLst>
            <pc:docMk/>
            <pc:sldMk cId="2069976121" sldId="2054"/>
            <ac:spMk id="8" creationId="{AFB0AAA2-199C-C16D-47B5-07E8AE7DE238}"/>
          </ac:spMkLst>
        </pc:spChg>
        <pc:spChg chg="del mod">
          <ac:chgData name="春見 萌" userId="9afd8786-03fb-4f21-8c92-2c7d57f78c8c" providerId="ADAL" clId="{D98365F3-3FD0-40D5-B557-80CB254BB869}" dt="2026-02-26T06:36:52.868" v="627" actId="478"/>
          <ac:spMkLst>
            <pc:docMk/>
            <pc:sldMk cId="2069976121" sldId="2054"/>
            <ac:spMk id="9" creationId="{46467DFB-AF72-FD09-01A8-07BA32A1861B}"/>
          </ac:spMkLst>
        </pc:spChg>
        <pc:spChg chg="del">
          <ac:chgData name="春見 萌" userId="9afd8786-03fb-4f21-8c92-2c7d57f78c8c" providerId="ADAL" clId="{D98365F3-3FD0-40D5-B557-80CB254BB869}" dt="2026-02-26T06:25:07.089" v="590" actId="478"/>
          <ac:spMkLst>
            <pc:docMk/>
            <pc:sldMk cId="2069976121" sldId="2054"/>
            <ac:spMk id="12" creationId="{A16BA749-330B-14D7-4868-C5A6E70DC465}"/>
          </ac:spMkLst>
        </pc:spChg>
        <pc:spChg chg="add mod">
          <ac:chgData name="春見 萌" userId="9afd8786-03fb-4f21-8c92-2c7d57f78c8c" providerId="ADAL" clId="{D98365F3-3FD0-40D5-B557-80CB254BB869}" dt="2026-02-26T06:25:02.032" v="588"/>
          <ac:spMkLst>
            <pc:docMk/>
            <pc:sldMk cId="2069976121" sldId="2054"/>
            <ac:spMk id="14" creationId="{257EE647-C249-5C6C-B7AE-69DFC32C5027}"/>
          </ac:spMkLst>
        </pc:spChg>
        <pc:spChg chg="mod">
          <ac:chgData name="春見 萌" userId="9afd8786-03fb-4f21-8c92-2c7d57f78c8c" providerId="ADAL" clId="{D98365F3-3FD0-40D5-B557-80CB254BB869}" dt="2026-02-26T06:25:18.986" v="616" actId="1035"/>
          <ac:spMkLst>
            <pc:docMk/>
            <pc:sldMk cId="2069976121" sldId="2054"/>
            <ac:spMk id="18" creationId="{3828B32A-1676-FE9F-F8A9-03AC8326092F}"/>
          </ac:spMkLst>
        </pc:spChg>
        <pc:spChg chg="mod">
          <ac:chgData name="春見 萌" userId="9afd8786-03fb-4f21-8c92-2c7d57f78c8c" providerId="ADAL" clId="{D98365F3-3FD0-40D5-B557-80CB254BB869}" dt="2026-02-26T06:25:18.986" v="616" actId="1035"/>
          <ac:spMkLst>
            <pc:docMk/>
            <pc:sldMk cId="2069976121" sldId="2054"/>
            <ac:spMk id="19" creationId="{A2F1C025-D9A8-600E-7848-FD9E9AB6B77C}"/>
          </ac:spMkLst>
        </pc:spChg>
        <pc:spChg chg="mod">
          <ac:chgData name="春見 萌" userId="9afd8786-03fb-4f21-8c92-2c7d57f78c8c" providerId="ADAL" clId="{D98365F3-3FD0-40D5-B557-80CB254BB869}" dt="2026-02-26T06:25:18.986" v="616" actId="1035"/>
          <ac:spMkLst>
            <pc:docMk/>
            <pc:sldMk cId="2069976121" sldId="2054"/>
            <ac:spMk id="23" creationId="{95AEEAA5-038B-3D74-D71F-72C793819E20}"/>
          </ac:spMkLst>
        </pc:spChg>
        <pc:spChg chg="mod">
          <ac:chgData name="春見 萌" userId="9afd8786-03fb-4f21-8c92-2c7d57f78c8c" providerId="ADAL" clId="{D98365F3-3FD0-40D5-B557-80CB254BB869}" dt="2026-02-26T06:25:18.986" v="616" actId="1035"/>
          <ac:spMkLst>
            <pc:docMk/>
            <pc:sldMk cId="2069976121" sldId="2054"/>
            <ac:spMk id="28" creationId="{9E81E623-04E7-FAC7-C300-5046B01DF80A}"/>
          </ac:spMkLst>
        </pc:spChg>
        <pc:spChg chg="add mod">
          <ac:chgData name="春見 萌" userId="9afd8786-03fb-4f21-8c92-2c7d57f78c8c" providerId="ADAL" clId="{D98365F3-3FD0-40D5-B557-80CB254BB869}" dt="2026-02-26T06:25:02.032" v="588"/>
          <ac:spMkLst>
            <pc:docMk/>
            <pc:sldMk cId="2069976121" sldId="2054"/>
            <ac:spMk id="30" creationId="{EB181C96-79FD-8FBF-9F21-3C814FD5AEE4}"/>
          </ac:spMkLst>
        </pc:spChg>
        <pc:spChg chg="mod">
          <ac:chgData name="春見 萌" userId="9afd8786-03fb-4f21-8c92-2c7d57f78c8c" providerId="ADAL" clId="{D98365F3-3FD0-40D5-B557-80CB254BB869}" dt="2026-02-26T06:25:18.986" v="616" actId="1035"/>
          <ac:spMkLst>
            <pc:docMk/>
            <pc:sldMk cId="2069976121" sldId="2054"/>
            <ac:spMk id="54" creationId="{4CEEE4A6-82E6-91DF-0984-BCF02A48A13B}"/>
          </ac:spMkLst>
        </pc:spChg>
        <pc:spChg chg="mod">
          <ac:chgData name="春見 萌" userId="9afd8786-03fb-4f21-8c92-2c7d57f78c8c" providerId="ADAL" clId="{D98365F3-3FD0-40D5-B557-80CB254BB869}" dt="2026-02-26T06:25:18.986" v="616" actId="1035"/>
          <ac:spMkLst>
            <pc:docMk/>
            <pc:sldMk cId="2069976121" sldId="2054"/>
            <ac:spMk id="56" creationId="{48F8FA18-29F8-4E33-ABDC-3732705F8748}"/>
          </ac:spMkLst>
        </pc:spChg>
        <pc:spChg chg="mod">
          <ac:chgData name="春見 萌" userId="9afd8786-03fb-4f21-8c92-2c7d57f78c8c" providerId="ADAL" clId="{D98365F3-3FD0-40D5-B557-80CB254BB869}" dt="2026-02-26T06:25:18.986" v="616" actId="1035"/>
          <ac:spMkLst>
            <pc:docMk/>
            <pc:sldMk cId="2069976121" sldId="2054"/>
            <ac:spMk id="63" creationId="{5001578A-BF41-F852-058C-0604EE9E3016}"/>
          </ac:spMkLst>
        </pc:spChg>
        <pc:cxnChg chg="del">
          <ac:chgData name="春見 萌" userId="9afd8786-03fb-4f21-8c92-2c7d57f78c8c" providerId="ADAL" clId="{D98365F3-3FD0-40D5-B557-80CB254BB869}" dt="2026-02-26T06:25:08.958" v="591" actId="478"/>
          <ac:cxnSpMkLst>
            <pc:docMk/>
            <pc:sldMk cId="2069976121" sldId="2054"/>
            <ac:cxnSpMk id="13" creationId="{BF5851D5-854B-FA54-8A17-9DE989C97890}"/>
          </ac:cxnSpMkLst>
        </pc:cxnChg>
      </pc:sldChg>
    </pc:docChg>
  </pc:docChgLst>
  <pc:docChgLst>
    <pc:chgData name="Kato, Masahiro 4" userId="f2f839af-8092-499e-ad37-968b6e15735c" providerId="ADAL" clId="{771E5B0D-7726-4982-ABEF-FBEF0F4602BD}"/>
    <pc:docChg chg="undo custSel addSld delSld modSld modSection">
      <pc:chgData name="Kato, Masahiro 4" userId="f2f839af-8092-499e-ad37-968b6e15735c" providerId="ADAL" clId="{771E5B0D-7726-4982-ABEF-FBEF0F4602BD}" dt="2025-12-23T08:45:55.723" v="1333" actId="20577"/>
      <pc:docMkLst>
        <pc:docMk/>
      </pc:docMkLst>
      <pc:sldChg chg="modSp mod">
        <pc:chgData name="Kato, Masahiro 4" userId="f2f839af-8092-499e-ad37-968b6e15735c" providerId="ADAL" clId="{771E5B0D-7726-4982-ABEF-FBEF0F4602BD}" dt="2025-12-23T07:40:03.498" v="556" actId="1076"/>
        <pc:sldMkLst>
          <pc:docMk/>
          <pc:sldMk cId="985933523" sldId="1984"/>
        </pc:sldMkLst>
      </pc:sldChg>
      <pc:sldChg chg="modSp mod">
        <pc:chgData name="Kato, Masahiro 4" userId="f2f839af-8092-499e-ad37-968b6e15735c" providerId="ADAL" clId="{771E5B0D-7726-4982-ABEF-FBEF0F4602BD}" dt="2025-12-23T07:39:37.342" v="548"/>
        <pc:sldMkLst>
          <pc:docMk/>
          <pc:sldMk cId="1659794271" sldId="1986"/>
        </pc:sldMkLst>
      </pc:sldChg>
      <pc:sldChg chg="modSp mod">
        <pc:chgData name="Kato, Masahiro 4" userId="f2f839af-8092-499e-ad37-968b6e15735c" providerId="ADAL" clId="{771E5B0D-7726-4982-ABEF-FBEF0F4602BD}" dt="2025-12-23T07:28:37.827" v="101"/>
        <pc:sldMkLst>
          <pc:docMk/>
          <pc:sldMk cId="2534829503" sldId="2026"/>
        </pc:sldMkLst>
      </pc:sldChg>
      <pc:sldChg chg="addSp modSp add mod">
        <pc:chgData name="Kato, Masahiro 4" userId="f2f839af-8092-499e-ad37-968b6e15735c" providerId="ADAL" clId="{771E5B0D-7726-4982-ABEF-FBEF0F4602BD}" dt="2025-12-23T07:44:27.839" v="920" actId="207"/>
        <pc:sldMkLst>
          <pc:docMk/>
          <pc:sldMk cId="2636215427" sldId="2033"/>
        </pc:sldMkLst>
      </pc:sldChg>
      <pc:sldChg chg="add del">
        <pc:chgData name="Kato, Masahiro 4" userId="f2f839af-8092-499e-ad37-968b6e15735c" providerId="ADAL" clId="{771E5B0D-7726-4982-ABEF-FBEF0F4602BD}" dt="2025-12-23T07:28:49.952" v="103"/>
        <pc:sldMkLst>
          <pc:docMk/>
          <pc:sldMk cId="3871408608" sldId="2033"/>
        </pc:sldMkLst>
      </pc:sldChg>
      <pc:sldChg chg="addSp modSp add mod">
        <pc:chgData name="Kato, Masahiro 4" userId="f2f839af-8092-499e-ad37-968b6e15735c" providerId="ADAL" clId="{771E5B0D-7726-4982-ABEF-FBEF0F4602BD}" dt="2025-12-23T07:39:30.144" v="547"/>
        <pc:sldMkLst>
          <pc:docMk/>
          <pc:sldMk cId="2799762407" sldId="2034"/>
        </pc:sldMkLst>
      </pc:sldChg>
      <pc:sldChg chg="add del">
        <pc:chgData name="Kato, Masahiro 4" userId="f2f839af-8092-499e-ad37-968b6e15735c" providerId="ADAL" clId="{771E5B0D-7726-4982-ABEF-FBEF0F4602BD}" dt="2025-12-23T07:28:49.952" v="103"/>
        <pc:sldMkLst>
          <pc:docMk/>
          <pc:sldMk cId="4074402916" sldId="2034"/>
        </pc:sldMkLst>
      </pc:sldChg>
      <pc:sldChg chg="delSp modSp add mod">
        <pc:chgData name="Kato, Masahiro 4" userId="f2f839af-8092-499e-ad37-968b6e15735c" providerId="ADAL" clId="{771E5B0D-7726-4982-ABEF-FBEF0F4602BD}" dt="2025-12-23T07:33:08.658" v="190" actId="20577"/>
        <pc:sldMkLst>
          <pc:docMk/>
          <pc:sldMk cId="1942732370" sldId="2035"/>
        </pc:sldMkLst>
      </pc:sldChg>
      <pc:sldChg chg="addSp modSp add mod">
        <pc:chgData name="Kato, Masahiro 4" userId="f2f839af-8092-499e-ad37-968b6e15735c" providerId="ADAL" clId="{771E5B0D-7726-4982-ABEF-FBEF0F4602BD}" dt="2025-12-23T07:41:47.598" v="706" actId="20577"/>
        <pc:sldMkLst>
          <pc:docMk/>
          <pc:sldMk cId="96111614" sldId="2036"/>
        </pc:sldMkLst>
      </pc:sldChg>
      <pc:sldChg chg="addSp delSp modSp add mod">
        <pc:chgData name="Kato, Masahiro 4" userId="f2f839af-8092-499e-ad37-968b6e15735c" providerId="ADAL" clId="{771E5B0D-7726-4982-ABEF-FBEF0F4602BD}" dt="2025-12-23T08:45:55.723" v="1333" actId="20577"/>
        <pc:sldMkLst>
          <pc:docMk/>
          <pc:sldMk cId="3715243626" sldId="2037"/>
        </pc:sldMkLst>
      </pc:sldChg>
      <pc:sldChg chg="add">
        <pc:chgData name="Kato, Masahiro 4" userId="f2f839af-8092-499e-ad37-968b6e15735c" providerId="ADAL" clId="{771E5B0D-7726-4982-ABEF-FBEF0F4602BD}" dt="2025-12-23T07:28:55.638" v="104"/>
        <pc:sldMkLst>
          <pc:docMk/>
          <pc:sldMk cId="1090839447" sldId="2038"/>
        </pc:sldMkLst>
      </pc:sldChg>
    </pc:docChg>
  </pc:docChgLst>
  <pc:docChgLst>
    <pc:chgData name="Kato, Masahiro 4" userId="f2f839af-8092-499e-ad37-968b6e15735c" providerId="ADAL" clId="{C932E3FC-CB95-4318-B1D9-F36CD4FDB693}"/>
    <pc:docChg chg="delSld modSld delSection modSection">
      <pc:chgData name="Kato, Masahiro 4" userId="f2f839af-8092-499e-ad37-968b6e15735c" providerId="ADAL" clId="{C932E3FC-CB95-4318-B1D9-F36CD4FDB693}" dt="2025-12-18T03:34:38.296" v="72"/>
      <pc:docMkLst>
        <pc:docMk/>
      </pc:docMkLst>
      <pc:sldChg chg="del">
        <pc:chgData name="Kato, Masahiro 4" userId="f2f839af-8092-499e-ad37-968b6e15735c" providerId="ADAL" clId="{C932E3FC-CB95-4318-B1D9-F36CD4FDB693}" dt="2025-12-18T03:18:59.517" v="0" actId="18676"/>
        <pc:sldMkLst>
          <pc:docMk/>
          <pc:sldMk cId="2122372766" sldId="257"/>
        </pc:sldMkLst>
      </pc:sldChg>
      <pc:sldChg chg="del">
        <pc:chgData name="Kato, Masahiro 4" userId="f2f839af-8092-499e-ad37-968b6e15735c" providerId="ADAL" clId="{C932E3FC-CB95-4318-B1D9-F36CD4FDB693}" dt="2025-12-18T03:18:59.517" v="0" actId="18676"/>
        <pc:sldMkLst>
          <pc:docMk/>
          <pc:sldMk cId="2098259246" sldId="261"/>
        </pc:sldMkLst>
      </pc:sldChg>
      <pc:sldChg chg="modSp mod">
        <pc:chgData name="Kato, Masahiro 4" userId="f2f839af-8092-499e-ad37-968b6e15735c" providerId="ADAL" clId="{C932E3FC-CB95-4318-B1D9-F36CD4FDB693}" dt="2025-12-18T03:34:29.013" v="71" actId="20577"/>
        <pc:sldMkLst>
          <pc:docMk/>
          <pc:sldMk cId="985933523" sldId="1984"/>
        </pc:sldMkLst>
      </pc:sldChg>
      <pc:sldChg chg="modSp mod">
        <pc:chgData name="Kato, Masahiro 4" userId="f2f839af-8092-499e-ad37-968b6e15735c" providerId="ADAL" clId="{C932E3FC-CB95-4318-B1D9-F36CD4FDB693}" dt="2025-12-18T03:34:38.296" v="72"/>
        <pc:sldMkLst>
          <pc:docMk/>
          <pc:sldMk cId="1659794271" sldId="1986"/>
        </pc:sldMkLst>
      </pc:sldChg>
      <pc:sldChg chg="del">
        <pc:chgData name="Kato, Masahiro 4" userId="f2f839af-8092-499e-ad37-968b6e15735c" providerId="ADAL" clId="{C932E3FC-CB95-4318-B1D9-F36CD4FDB693}" dt="2025-12-18T03:18:59.517" v="0" actId="18676"/>
        <pc:sldMkLst>
          <pc:docMk/>
          <pc:sldMk cId="3057756584" sldId="1990"/>
        </pc:sldMkLst>
      </pc:sldChg>
      <pc:sldChg chg="del">
        <pc:chgData name="Kato, Masahiro 4" userId="f2f839af-8092-499e-ad37-968b6e15735c" providerId="ADAL" clId="{C932E3FC-CB95-4318-B1D9-F36CD4FDB693}" dt="2025-12-18T03:18:59.517" v="0" actId="18676"/>
        <pc:sldMkLst>
          <pc:docMk/>
          <pc:sldMk cId="350403166" sldId="2006"/>
        </pc:sldMkLst>
      </pc:sldChg>
      <pc:sldChg chg="del">
        <pc:chgData name="Kato, Masahiro 4" userId="f2f839af-8092-499e-ad37-968b6e15735c" providerId="ADAL" clId="{C932E3FC-CB95-4318-B1D9-F36CD4FDB693}" dt="2025-12-18T03:18:59.517" v="0" actId="18676"/>
        <pc:sldMkLst>
          <pc:docMk/>
          <pc:sldMk cId="258190516" sldId="2015"/>
        </pc:sldMkLst>
      </pc:sldChg>
      <pc:sldChg chg="del">
        <pc:chgData name="Kato, Masahiro 4" userId="f2f839af-8092-499e-ad37-968b6e15735c" providerId="ADAL" clId="{C932E3FC-CB95-4318-B1D9-F36CD4FDB693}" dt="2025-12-18T03:18:59.517" v="0" actId="18676"/>
        <pc:sldMkLst>
          <pc:docMk/>
          <pc:sldMk cId="826555675" sldId="2027"/>
        </pc:sldMkLst>
      </pc:sldChg>
      <pc:sldChg chg="del">
        <pc:chgData name="Kato, Masahiro 4" userId="f2f839af-8092-499e-ad37-968b6e15735c" providerId="ADAL" clId="{C932E3FC-CB95-4318-B1D9-F36CD4FDB693}" dt="2025-12-18T03:18:59.517" v="0" actId="18676"/>
        <pc:sldMkLst>
          <pc:docMk/>
          <pc:sldMk cId="3617648504" sldId="2028"/>
        </pc:sldMkLst>
      </pc:sldChg>
      <pc:sldChg chg="del">
        <pc:chgData name="Kato, Masahiro 4" userId="f2f839af-8092-499e-ad37-968b6e15735c" providerId="ADAL" clId="{C932E3FC-CB95-4318-B1D9-F36CD4FDB693}" dt="2025-12-18T03:18:59.517" v="0" actId="18676"/>
        <pc:sldMkLst>
          <pc:docMk/>
          <pc:sldMk cId="2183642442" sldId="2032"/>
        </pc:sldMkLst>
      </pc:sldChg>
    </pc:docChg>
  </pc:docChgLst>
  <pc:docChgLst>
    <pc:chgData name="Kato, Masahiro 4" userId="f2f839af-8092-499e-ad37-968b6e15735c" providerId="ADAL" clId="{A132D2D7-1F1C-46C2-995A-AA7238ACD31F}"/>
    <pc:docChg chg="modSld">
      <pc:chgData name="Kato, Masahiro 4" userId="f2f839af-8092-499e-ad37-968b6e15735c" providerId="ADAL" clId="{A132D2D7-1F1C-46C2-995A-AA7238ACD31F}" dt="2025-12-19T07:33:38.066" v="0"/>
      <pc:docMkLst>
        <pc:docMk/>
      </pc:docMkLst>
      <pc:sldChg chg="modSp mod">
        <pc:chgData name="Kato, Masahiro 4" userId="f2f839af-8092-499e-ad37-968b6e15735c" providerId="ADAL" clId="{A132D2D7-1F1C-46C2-995A-AA7238ACD31F}" dt="2025-12-19T07:33:38.066" v="0"/>
        <pc:sldMkLst>
          <pc:docMk/>
          <pc:sldMk cId="1659794271" sldId="1986"/>
        </pc:sldMkLst>
      </pc:sldChg>
    </pc:docChg>
  </pc:docChgLst>
  <pc:docChgLst>
    <pc:chgData name="川尻 まい" userId="35f17af1-76cf-4cee-b2f0-f66b12cb7414" providerId="ADAL" clId="{1796D6BB-9F70-4B2C-9417-4A884AB65BD3}"/>
    <pc:docChg chg="undo custSel modSld sldOrd">
      <pc:chgData name="川尻 まい" userId="35f17af1-76cf-4cee-b2f0-f66b12cb7414" providerId="ADAL" clId="{1796D6BB-9F70-4B2C-9417-4A884AB65BD3}" dt="2026-02-26T01:03:03.040" v="42" actId="1036"/>
      <pc:docMkLst>
        <pc:docMk/>
      </pc:docMkLst>
      <pc:sldChg chg="ord">
        <pc:chgData name="川尻 まい" userId="35f17af1-76cf-4cee-b2f0-f66b12cb7414" providerId="ADAL" clId="{1796D6BB-9F70-4B2C-9417-4A884AB65BD3}" dt="2026-02-25T00:52:54.237" v="1"/>
        <pc:sldMkLst>
          <pc:docMk/>
          <pc:sldMk cId="1942732370" sldId="2035"/>
        </pc:sldMkLst>
      </pc:sldChg>
      <pc:sldChg chg="modSp mod">
        <pc:chgData name="川尻 まい" userId="35f17af1-76cf-4cee-b2f0-f66b12cb7414" providerId="ADAL" clId="{1796D6BB-9F70-4B2C-9417-4A884AB65BD3}" dt="2026-02-26T01:02:29.619" v="32" actId="1036"/>
        <pc:sldMkLst>
          <pc:docMk/>
          <pc:sldMk cId="316286736" sldId="2049"/>
        </pc:sldMkLst>
        <pc:spChg chg="mod">
          <ac:chgData name="川尻 まい" userId="35f17af1-76cf-4cee-b2f0-f66b12cb7414" providerId="ADAL" clId="{1796D6BB-9F70-4B2C-9417-4A884AB65BD3}" dt="2026-02-26T01:02:05.503" v="25" actId="1035"/>
          <ac:spMkLst>
            <pc:docMk/>
            <pc:sldMk cId="316286736" sldId="2049"/>
            <ac:spMk id="6" creationId="{73D15598-606A-1598-111B-D766B85B786E}"/>
          </ac:spMkLst>
        </pc:spChg>
        <pc:spChg chg="mod">
          <ac:chgData name="川尻 まい" userId="35f17af1-76cf-4cee-b2f0-f66b12cb7414" providerId="ADAL" clId="{1796D6BB-9F70-4B2C-9417-4A884AB65BD3}" dt="2026-02-26T01:02:29.619" v="32" actId="1036"/>
          <ac:spMkLst>
            <pc:docMk/>
            <pc:sldMk cId="316286736" sldId="2049"/>
            <ac:spMk id="8" creationId="{5EBD9790-1254-CFB9-24FF-3C600C26F615}"/>
          </ac:spMkLst>
        </pc:spChg>
        <pc:spChg chg="mod">
          <ac:chgData name="川尻 まい" userId="35f17af1-76cf-4cee-b2f0-f66b12cb7414" providerId="ADAL" clId="{1796D6BB-9F70-4B2C-9417-4A884AB65BD3}" dt="2026-02-26T01:02:29.619" v="32" actId="1036"/>
          <ac:spMkLst>
            <pc:docMk/>
            <pc:sldMk cId="316286736" sldId="2049"/>
            <ac:spMk id="10" creationId="{22D512F1-0C8E-5093-9C16-32B138139BF1}"/>
          </ac:spMkLst>
        </pc:spChg>
        <pc:spChg chg="mod">
          <ac:chgData name="川尻 まい" userId="35f17af1-76cf-4cee-b2f0-f66b12cb7414" providerId="ADAL" clId="{1796D6BB-9F70-4B2C-9417-4A884AB65BD3}" dt="2026-02-26T01:02:29.619" v="32" actId="1036"/>
          <ac:spMkLst>
            <pc:docMk/>
            <pc:sldMk cId="316286736" sldId="2049"/>
            <ac:spMk id="11" creationId="{0BED0B23-5EE5-3F9D-0DF9-CA2F9E57923E}"/>
          </ac:spMkLst>
        </pc:spChg>
        <pc:spChg chg="mod">
          <ac:chgData name="川尻 まい" userId="35f17af1-76cf-4cee-b2f0-f66b12cb7414" providerId="ADAL" clId="{1796D6BB-9F70-4B2C-9417-4A884AB65BD3}" dt="2026-02-26T01:02:05.503" v="25" actId="1035"/>
          <ac:spMkLst>
            <pc:docMk/>
            <pc:sldMk cId="316286736" sldId="2049"/>
            <ac:spMk id="21" creationId="{E41E36C4-F282-D8D5-1CF6-DD28156D7020}"/>
          </ac:spMkLst>
        </pc:spChg>
        <pc:spChg chg="mod">
          <ac:chgData name="川尻 まい" userId="35f17af1-76cf-4cee-b2f0-f66b12cb7414" providerId="ADAL" clId="{1796D6BB-9F70-4B2C-9417-4A884AB65BD3}" dt="2026-02-26T01:02:17.133" v="27" actId="14100"/>
          <ac:spMkLst>
            <pc:docMk/>
            <pc:sldMk cId="316286736" sldId="2049"/>
            <ac:spMk id="22" creationId="{8568BAB0-17A2-EEA8-1CAE-7F231AB8E08F}"/>
          </ac:spMkLst>
        </pc:spChg>
        <pc:spChg chg="mod">
          <ac:chgData name="川尻 まい" userId="35f17af1-76cf-4cee-b2f0-f66b12cb7414" providerId="ADAL" clId="{1796D6BB-9F70-4B2C-9417-4A884AB65BD3}" dt="2026-02-26T01:02:11.446" v="26" actId="14100"/>
          <ac:spMkLst>
            <pc:docMk/>
            <pc:sldMk cId="316286736" sldId="2049"/>
            <ac:spMk id="40" creationId="{90FD45DD-F2BC-23A9-C367-736B298FDC4D}"/>
          </ac:spMkLst>
        </pc:spChg>
      </pc:sldChg>
      <pc:sldChg chg="modSp mod">
        <pc:chgData name="川尻 まい" userId="35f17af1-76cf-4cee-b2f0-f66b12cb7414" providerId="ADAL" clId="{1796D6BB-9F70-4B2C-9417-4A884AB65BD3}" dt="2026-02-26T01:03:03.040" v="42" actId="1036"/>
        <pc:sldMkLst>
          <pc:docMk/>
          <pc:sldMk cId="2048520626" sldId="2050"/>
        </pc:sldMkLst>
        <pc:spChg chg="mod">
          <ac:chgData name="川尻 まい" userId="35f17af1-76cf-4cee-b2f0-f66b12cb7414" providerId="ADAL" clId="{1796D6BB-9F70-4B2C-9417-4A884AB65BD3}" dt="2026-02-26T01:03:03.040" v="42" actId="1036"/>
          <ac:spMkLst>
            <pc:docMk/>
            <pc:sldMk cId="2048520626" sldId="2050"/>
            <ac:spMk id="8" creationId="{9E7B8BEA-DF74-B9F4-DF1F-020CD5ABE4BB}"/>
          </ac:spMkLst>
        </pc:spChg>
        <pc:spChg chg="mod">
          <ac:chgData name="川尻 まい" userId="35f17af1-76cf-4cee-b2f0-f66b12cb7414" providerId="ADAL" clId="{1796D6BB-9F70-4B2C-9417-4A884AB65BD3}" dt="2026-02-26T01:03:03.040" v="42" actId="1036"/>
          <ac:spMkLst>
            <pc:docMk/>
            <pc:sldMk cId="2048520626" sldId="2050"/>
            <ac:spMk id="10" creationId="{91533C29-D9E5-5886-6EA6-93DB7D93B7F8}"/>
          </ac:spMkLst>
        </pc:spChg>
        <pc:spChg chg="mod">
          <ac:chgData name="川尻 まい" userId="35f17af1-76cf-4cee-b2f0-f66b12cb7414" providerId="ADAL" clId="{1796D6BB-9F70-4B2C-9417-4A884AB65BD3}" dt="2026-02-26T01:03:03.040" v="42" actId="1036"/>
          <ac:spMkLst>
            <pc:docMk/>
            <pc:sldMk cId="2048520626" sldId="2050"/>
            <ac:spMk id="11" creationId="{18247926-9F0C-315A-A247-8A6E41AA7BA0}"/>
          </ac:spMkLst>
        </pc:spChg>
        <pc:spChg chg="mod">
          <ac:chgData name="川尻 まい" userId="35f17af1-76cf-4cee-b2f0-f66b12cb7414" providerId="ADAL" clId="{1796D6BB-9F70-4B2C-9417-4A884AB65BD3}" dt="2026-02-26T01:02:54.953" v="39" actId="1038"/>
          <ac:spMkLst>
            <pc:docMk/>
            <pc:sldMk cId="2048520626" sldId="2050"/>
            <ac:spMk id="13" creationId="{C9931644-291F-A6A4-AF42-672A29DB4842}"/>
          </ac:spMkLst>
        </pc:spChg>
        <pc:spChg chg="mod">
          <ac:chgData name="川尻 まい" userId="35f17af1-76cf-4cee-b2f0-f66b12cb7414" providerId="ADAL" clId="{1796D6BB-9F70-4B2C-9417-4A884AB65BD3}" dt="2026-02-26T01:02:54.953" v="39" actId="1038"/>
          <ac:spMkLst>
            <pc:docMk/>
            <pc:sldMk cId="2048520626" sldId="2050"/>
            <ac:spMk id="23" creationId="{39EBC534-CA99-F174-E4E2-BCE633B826B7}"/>
          </ac:spMkLst>
        </pc:spChg>
        <pc:spChg chg="mod">
          <ac:chgData name="川尻 まい" userId="35f17af1-76cf-4cee-b2f0-f66b12cb7414" providerId="ADAL" clId="{1796D6BB-9F70-4B2C-9417-4A884AB65BD3}" dt="2026-02-26T01:02:54.953" v="39" actId="1038"/>
          <ac:spMkLst>
            <pc:docMk/>
            <pc:sldMk cId="2048520626" sldId="2050"/>
            <ac:spMk id="29" creationId="{BD168CE9-183E-EF59-3FE6-75B37CD88F4D}"/>
          </ac:spMkLst>
        </pc:spChg>
        <pc:spChg chg="mod">
          <ac:chgData name="川尻 まい" userId="35f17af1-76cf-4cee-b2f0-f66b12cb7414" providerId="ADAL" clId="{1796D6BB-9F70-4B2C-9417-4A884AB65BD3}" dt="2026-02-25T11:21:09.084" v="18" actId="1036"/>
          <ac:spMkLst>
            <pc:docMk/>
            <pc:sldMk cId="2048520626" sldId="2050"/>
            <ac:spMk id="30" creationId="{294708EF-DF87-F3AA-D2CD-3270E245D58F}"/>
          </ac:spMkLst>
        </pc:spChg>
        <pc:spChg chg="mod">
          <ac:chgData name="川尻 まい" userId="35f17af1-76cf-4cee-b2f0-f66b12cb7414" providerId="ADAL" clId="{1796D6BB-9F70-4B2C-9417-4A884AB65BD3}" dt="2026-02-26T01:02:54.953" v="39" actId="1038"/>
          <ac:spMkLst>
            <pc:docMk/>
            <pc:sldMk cId="2048520626" sldId="2050"/>
            <ac:spMk id="31" creationId="{2DDB0F87-D1C1-68EE-D339-A3CC5CFDDB94}"/>
          </ac:spMkLst>
        </pc:spChg>
        <pc:spChg chg="mod">
          <ac:chgData name="川尻 まい" userId="35f17af1-76cf-4cee-b2f0-f66b12cb7414" providerId="ADAL" clId="{1796D6BB-9F70-4B2C-9417-4A884AB65BD3}" dt="2026-02-25T11:21:00.022" v="11" actId="14100"/>
          <ac:spMkLst>
            <pc:docMk/>
            <pc:sldMk cId="2048520626" sldId="2050"/>
            <ac:spMk id="32" creationId="{3F2B71A5-4CBB-244D-EA8A-0B6643C2D6F0}"/>
          </ac:spMkLst>
        </pc:spChg>
        <pc:spChg chg="mod">
          <ac:chgData name="川尻 まい" userId="35f17af1-76cf-4cee-b2f0-f66b12cb7414" providerId="ADAL" clId="{1796D6BB-9F70-4B2C-9417-4A884AB65BD3}" dt="2026-02-25T11:21:20.492" v="22" actId="14100"/>
          <ac:spMkLst>
            <pc:docMk/>
            <pc:sldMk cId="2048520626" sldId="2050"/>
            <ac:spMk id="40" creationId="{0ED63584-DCF6-525A-98A4-8D720D6F9892}"/>
          </ac:spMkLst>
        </pc:spChg>
        <pc:spChg chg="mod">
          <ac:chgData name="川尻 まい" userId="35f17af1-76cf-4cee-b2f0-f66b12cb7414" providerId="ADAL" clId="{1796D6BB-9F70-4B2C-9417-4A884AB65BD3}" dt="2026-02-25T11:21:17.842" v="21" actId="14100"/>
          <ac:spMkLst>
            <pc:docMk/>
            <pc:sldMk cId="2048520626" sldId="2050"/>
            <ac:spMk id="41" creationId="{46243CBB-3205-4CB3-55B6-2BE8D90B9090}"/>
          </ac:spMkLst>
        </pc:spChg>
      </pc:sldChg>
    </pc:docChg>
  </pc:docChgLst>
  <pc:docChgLst>
    <pc:chgData name="Kato, Masahiro 4" userId="f2f839af-8092-499e-ad37-968b6e15735c" providerId="ADAL" clId="{456580C3-E519-4C82-947E-17A87BFD8838}"/>
    <pc:docChg chg="undo custSel delSld modSld delSection modSection">
      <pc:chgData name="Kato, Masahiro 4" userId="f2f839af-8092-499e-ad37-968b6e15735c" providerId="ADAL" clId="{456580C3-E519-4C82-947E-17A87BFD8838}" dt="2025-12-18T03:17:21.490" v="291" actId="17851"/>
      <pc:docMkLst>
        <pc:docMk/>
      </pc:docMkLst>
      <pc:sldChg chg="del">
        <pc:chgData name="Kato, Masahiro 4" userId="f2f839af-8092-499e-ad37-968b6e15735c" providerId="ADAL" clId="{456580C3-E519-4C82-947E-17A87BFD8838}" dt="2025-12-18T03:17:18.565" v="288" actId="47"/>
        <pc:sldMkLst>
          <pc:docMk/>
          <pc:sldMk cId="2237344307" sldId="256"/>
        </pc:sldMkLst>
      </pc:sldChg>
      <pc:sldChg chg="addSp modSp mod">
        <pc:chgData name="Kato, Masahiro 4" userId="f2f839af-8092-499e-ad37-968b6e15735c" providerId="ADAL" clId="{456580C3-E519-4C82-947E-17A87BFD8838}" dt="2025-12-18T03:15:33.531" v="287"/>
        <pc:sldMkLst>
          <pc:docMk/>
          <pc:sldMk cId="985933523" sldId="1984"/>
        </pc:sldMkLst>
      </pc:sldChg>
      <pc:sldChg chg="modSp mod">
        <pc:chgData name="Kato, Masahiro 4" userId="f2f839af-8092-499e-ad37-968b6e15735c" providerId="ADAL" clId="{456580C3-E519-4C82-947E-17A87BFD8838}" dt="2025-12-18T03:15:26.897" v="286" actId="20577"/>
        <pc:sldMkLst>
          <pc:docMk/>
          <pc:sldMk cId="1659794271" sldId="1986"/>
        </pc:sldMkLst>
      </pc:sldChg>
      <pc:sldChg chg="modSp mod">
        <pc:chgData name="Kato, Masahiro 4" userId="f2f839af-8092-499e-ad37-968b6e15735c" providerId="ADAL" clId="{456580C3-E519-4C82-947E-17A87BFD8838}" dt="2025-12-18T03:14:36.545" v="283" actId="20577"/>
        <pc:sldMkLst>
          <pc:docMk/>
          <pc:sldMk cId="2745274475" sldId="1988"/>
        </pc:sldMkLst>
      </pc:sldChg>
      <pc:sldChg chg="addSp delSp modSp mod">
        <pc:chgData name="Kato, Masahiro 4" userId="f2f839af-8092-499e-ad37-968b6e15735c" providerId="ADAL" clId="{456580C3-E519-4C82-947E-17A87BFD8838}" dt="2025-12-18T01:22:51.238" v="251" actId="165"/>
        <pc:sldMkLst>
          <pc:docMk/>
          <pc:sldMk cId="2881991226" sldId="2029"/>
        </pc:sldMkLst>
      </pc:sldChg>
      <pc:sldChg chg="del">
        <pc:chgData name="Kato, Masahiro 4" userId="f2f839af-8092-499e-ad37-968b6e15735c" providerId="ADAL" clId="{456580C3-E519-4C82-947E-17A87BFD8838}" dt="2025-12-18T03:17:19.159" v="290" actId="47"/>
        <pc:sldMkLst>
          <pc:docMk/>
          <pc:sldMk cId="1275193334" sldId="2030"/>
        </pc:sldMkLst>
      </pc:sldChg>
      <pc:sldChg chg="del">
        <pc:chgData name="Kato, Masahiro 4" userId="f2f839af-8092-499e-ad37-968b6e15735c" providerId="ADAL" clId="{456580C3-E519-4C82-947E-17A87BFD8838}" dt="2025-12-18T03:17:18.717" v="289" actId="47"/>
        <pc:sldMkLst>
          <pc:docMk/>
          <pc:sldMk cId="991150173" sldId="2031"/>
        </pc:sldMkLst>
      </pc:sldChg>
    </pc:docChg>
  </pc:docChgLst>
  <pc:docChgLst>
    <pc:chgData name="Hashi, Shota" userId="8379f7e9-b024-438c-a61e-ac1eb77e539d" providerId="ADAL" clId="{0D3F3E81-25D0-4329-AE79-6184803F0663}"/>
    <pc:docChg chg="undo modSld">
      <pc:chgData name="Hashi, Shota" userId="8379f7e9-b024-438c-a61e-ac1eb77e539d" providerId="ADAL" clId="{0D3F3E81-25D0-4329-AE79-6184803F0663}" dt="2025-12-19T10:59:39.665" v="19" actId="3064"/>
      <pc:docMkLst>
        <pc:docMk/>
      </pc:docMkLst>
      <pc:sldChg chg="modSp mod">
        <pc:chgData name="Hashi, Shota" userId="8379f7e9-b024-438c-a61e-ac1eb77e539d" providerId="ADAL" clId="{0D3F3E81-25D0-4329-AE79-6184803F0663}" dt="2025-12-19T10:59:39.665" v="19" actId="3064"/>
        <pc:sldMkLst>
          <pc:docMk/>
          <pc:sldMk cId="1659794271" sldId="1986"/>
        </pc:sldMkLst>
      </pc:sldChg>
    </pc:docChg>
  </pc:docChgLst>
  <pc:docChgLst>
    <pc:chgData name="川尻 まい" userId="35f17af1-76cf-4cee-b2f0-f66b12cb7414" providerId="ADAL" clId="{026E1322-9E64-42BB-BE2E-3DAF2A4C3A89}"/>
    <pc:docChg chg="undo redo custSel addSld delSld modSld sldOrd modSection">
      <pc:chgData name="川尻 まい" userId="35f17af1-76cf-4cee-b2f0-f66b12cb7414" providerId="ADAL" clId="{026E1322-9E64-42BB-BE2E-3DAF2A4C3A89}" dt="2026-02-24T10:40:00.722" v="1681" actId="20577"/>
      <pc:docMkLst>
        <pc:docMk/>
      </pc:docMkLst>
      <pc:sldChg chg="modSp mod">
        <pc:chgData name="川尻 まい" userId="35f17af1-76cf-4cee-b2f0-f66b12cb7414" providerId="ADAL" clId="{026E1322-9E64-42BB-BE2E-3DAF2A4C3A89}" dt="2026-02-24T09:57:14.785" v="686" actId="207"/>
        <pc:sldMkLst>
          <pc:docMk/>
          <pc:sldMk cId="2799762407" sldId="2034"/>
        </pc:sldMkLst>
        <pc:spChg chg="mod">
          <ac:chgData name="川尻 まい" userId="35f17af1-76cf-4cee-b2f0-f66b12cb7414" providerId="ADAL" clId="{026E1322-9E64-42BB-BE2E-3DAF2A4C3A89}" dt="2026-02-24T09:57:14.785" v="686" actId="207"/>
          <ac:spMkLst>
            <pc:docMk/>
            <pc:sldMk cId="2799762407" sldId="2034"/>
            <ac:spMk id="21" creationId="{74459ACB-8440-A935-AFEF-A6E051ACE57A}"/>
          </ac:spMkLst>
        </pc:spChg>
        <pc:spChg chg="mod">
          <ac:chgData name="川尻 まい" userId="35f17af1-76cf-4cee-b2f0-f66b12cb7414" providerId="ADAL" clId="{026E1322-9E64-42BB-BE2E-3DAF2A4C3A89}" dt="2026-02-24T09:54:37.235" v="635" actId="207"/>
          <ac:spMkLst>
            <pc:docMk/>
            <pc:sldMk cId="2799762407" sldId="2034"/>
            <ac:spMk id="28" creationId="{B2EDC647-266E-F8ED-FA44-4CB76A8CBBC4}"/>
          </ac:spMkLst>
        </pc:spChg>
        <pc:spChg chg="mod">
          <ac:chgData name="川尻 まい" userId="35f17af1-76cf-4cee-b2f0-f66b12cb7414" providerId="ADAL" clId="{026E1322-9E64-42BB-BE2E-3DAF2A4C3A89}" dt="2026-02-24T09:55:41.804" v="644" actId="207"/>
          <ac:spMkLst>
            <pc:docMk/>
            <pc:sldMk cId="2799762407" sldId="2034"/>
            <ac:spMk id="35" creationId="{236C9DF8-D010-7A1C-9FAB-1FB9079039AA}"/>
          </ac:spMkLst>
        </pc:spChg>
      </pc:sldChg>
      <pc:sldChg chg="modSp mod">
        <pc:chgData name="川尻 まい" userId="35f17af1-76cf-4cee-b2f0-f66b12cb7414" providerId="ADAL" clId="{026E1322-9E64-42BB-BE2E-3DAF2A4C3A89}" dt="2026-02-24T10:08:50.430" v="1106" actId="255"/>
        <pc:sldMkLst>
          <pc:docMk/>
          <pc:sldMk cId="1942732370" sldId="2035"/>
        </pc:sldMkLst>
        <pc:spChg chg="mod">
          <ac:chgData name="川尻 まい" userId="35f17af1-76cf-4cee-b2f0-f66b12cb7414" providerId="ADAL" clId="{026E1322-9E64-42BB-BE2E-3DAF2A4C3A89}" dt="2026-02-24T10:08:13.591" v="1076" actId="1076"/>
          <ac:spMkLst>
            <pc:docMk/>
            <pc:sldMk cId="1942732370" sldId="2035"/>
            <ac:spMk id="9" creationId="{DE5D045B-62BC-21DC-2FFE-5DBF975FCDFD}"/>
          </ac:spMkLst>
        </pc:spChg>
        <pc:spChg chg="mod">
          <ac:chgData name="川尻 まい" userId="35f17af1-76cf-4cee-b2f0-f66b12cb7414" providerId="ADAL" clId="{026E1322-9E64-42BB-BE2E-3DAF2A4C3A89}" dt="2026-02-24T09:57:40.577" v="687" actId="207"/>
          <ac:spMkLst>
            <pc:docMk/>
            <pc:sldMk cId="1942732370" sldId="2035"/>
            <ac:spMk id="16" creationId="{FD1CD3D1-55AF-17DC-B177-DF84C19B54E2}"/>
          </ac:spMkLst>
        </pc:spChg>
        <pc:spChg chg="mod">
          <ac:chgData name="川尻 まい" userId="35f17af1-76cf-4cee-b2f0-f66b12cb7414" providerId="ADAL" clId="{026E1322-9E64-42BB-BE2E-3DAF2A4C3A89}" dt="2026-02-24T10:08:13.591" v="1076" actId="1076"/>
          <ac:spMkLst>
            <pc:docMk/>
            <pc:sldMk cId="1942732370" sldId="2035"/>
            <ac:spMk id="23" creationId="{2D78B4C1-2A7D-3131-ECA6-4F889511590E}"/>
          </ac:spMkLst>
        </pc:spChg>
        <pc:spChg chg="mod">
          <ac:chgData name="川尻 まい" userId="35f17af1-76cf-4cee-b2f0-f66b12cb7414" providerId="ADAL" clId="{026E1322-9E64-42BB-BE2E-3DAF2A4C3A89}" dt="2026-02-24T10:08:13.591" v="1076" actId="1076"/>
          <ac:spMkLst>
            <pc:docMk/>
            <pc:sldMk cId="1942732370" sldId="2035"/>
            <ac:spMk id="24" creationId="{F0ECE2E0-9DA1-AE52-FA9B-0853F16A1902}"/>
          </ac:spMkLst>
        </pc:spChg>
        <pc:spChg chg="mod">
          <ac:chgData name="川尻 まい" userId="35f17af1-76cf-4cee-b2f0-f66b12cb7414" providerId="ADAL" clId="{026E1322-9E64-42BB-BE2E-3DAF2A4C3A89}" dt="2026-02-24T10:07:57.350" v="1071" actId="14100"/>
          <ac:spMkLst>
            <pc:docMk/>
            <pc:sldMk cId="1942732370" sldId="2035"/>
            <ac:spMk id="29" creationId="{A86E5D5F-6AE3-C475-D974-D3DE735CE84E}"/>
          </ac:spMkLst>
        </pc:spChg>
        <pc:spChg chg="mod">
          <ac:chgData name="川尻 まい" userId="35f17af1-76cf-4cee-b2f0-f66b12cb7414" providerId="ADAL" clId="{026E1322-9E64-42BB-BE2E-3DAF2A4C3A89}" dt="2026-02-24T10:08:36.745" v="1104" actId="20577"/>
          <ac:spMkLst>
            <pc:docMk/>
            <pc:sldMk cId="1942732370" sldId="2035"/>
            <ac:spMk id="30" creationId="{84E13CD4-5630-1956-7BE9-AA9E2D27AA63}"/>
          </ac:spMkLst>
        </pc:spChg>
        <pc:spChg chg="mod">
          <ac:chgData name="川尻 まい" userId="35f17af1-76cf-4cee-b2f0-f66b12cb7414" providerId="ADAL" clId="{026E1322-9E64-42BB-BE2E-3DAF2A4C3A89}" dt="2026-02-24T10:08:18.027" v="1077" actId="14100"/>
          <ac:spMkLst>
            <pc:docMk/>
            <pc:sldMk cId="1942732370" sldId="2035"/>
            <ac:spMk id="31" creationId="{FC9AAC06-B512-18B7-A930-FB1DE7B66039}"/>
          </ac:spMkLst>
        </pc:spChg>
        <pc:spChg chg="mod">
          <ac:chgData name="川尻 まい" userId="35f17af1-76cf-4cee-b2f0-f66b12cb7414" providerId="ADAL" clId="{026E1322-9E64-42BB-BE2E-3DAF2A4C3A89}" dt="2026-02-24T10:08:50.430" v="1106" actId="255"/>
          <ac:spMkLst>
            <pc:docMk/>
            <pc:sldMk cId="1942732370" sldId="2035"/>
            <ac:spMk id="32" creationId="{EFFFF08E-72D1-C8A9-1A8F-FA8EF2D3DCE1}"/>
          </ac:spMkLst>
        </pc:spChg>
        <pc:spChg chg="mod">
          <ac:chgData name="川尻 まい" userId="35f17af1-76cf-4cee-b2f0-f66b12cb7414" providerId="ADAL" clId="{026E1322-9E64-42BB-BE2E-3DAF2A4C3A89}" dt="2026-02-24T10:08:00.886" v="1072" actId="14100"/>
          <ac:spMkLst>
            <pc:docMk/>
            <pc:sldMk cId="1942732370" sldId="2035"/>
            <ac:spMk id="40" creationId="{42F7121C-581F-0FB0-6C4F-29DF0E3BCD33}"/>
          </ac:spMkLst>
        </pc:spChg>
        <pc:spChg chg="mod">
          <ac:chgData name="川尻 まい" userId="35f17af1-76cf-4cee-b2f0-f66b12cb7414" providerId="ADAL" clId="{026E1322-9E64-42BB-BE2E-3DAF2A4C3A89}" dt="2026-02-24T10:08:18.027" v="1077" actId="14100"/>
          <ac:spMkLst>
            <pc:docMk/>
            <pc:sldMk cId="1942732370" sldId="2035"/>
            <ac:spMk id="41" creationId="{8AFDBBFF-3B95-FF9C-C99A-4B83C4111EAB}"/>
          </ac:spMkLst>
        </pc:spChg>
      </pc:sldChg>
      <pc:sldChg chg="addSp delSp modSp mod">
        <pc:chgData name="川尻 まい" userId="35f17af1-76cf-4cee-b2f0-f66b12cb7414" providerId="ADAL" clId="{026E1322-9E64-42BB-BE2E-3DAF2A4C3A89}" dt="2026-02-24T10:17:54.616" v="1404" actId="1035"/>
        <pc:sldMkLst>
          <pc:docMk/>
          <pc:sldMk cId="2206337066" sldId="2045"/>
        </pc:sldMkLst>
        <pc:spChg chg="mod">
          <ac:chgData name="川尻 まい" userId="35f17af1-76cf-4cee-b2f0-f66b12cb7414" providerId="ADAL" clId="{026E1322-9E64-42BB-BE2E-3DAF2A4C3A89}" dt="2026-02-24T10:09:43.870" v="1107" actId="207"/>
          <ac:spMkLst>
            <pc:docMk/>
            <pc:sldMk cId="2206337066" sldId="2045"/>
            <ac:spMk id="2" creationId="{DD1229C7-161E-C0E1-5B5D-E364FE617736}"/>
          </ac:spMkLst>
        </pc:spChg>
        <pc:spChg chg="mod">
          <ac:chgData name="川尻 まい" userId="35f17af1-76cf-4cee-b2f0-f66b12cb7414" providerId="ADAL" clId="{026E1322-9E64-42BB-BE2E-3DAF2A4C3A89}" dt="2026-02-24T10:12:42.453" v="1191" actId="20577"/>
          <ac:spMkLst>
            <pc:docMk/>
            <pc:sldMk cId="2206337066" sldId="2045"/>
            <ac:spMk id="6" creationId="{1F48F448-5AF3-DBF0-A760-89D273E45E9C}"/>
          </ac:spMkLst>
        </pc:spChg>
        <pc:spChg chg="mod">
          <ac:chgData name="川尻 まい" userId="35f17af1-76cf-4cee-b2f0-f66b12cb7414" providerId="ADAL" clId="{026E1322-9E64-42BB-BE2E-3DAF2A4C3A89}" dt="2026-02-24T10:09:43.870" v="1107" actId="207"/>
          <ac:spMkLst>
            <pc:docMk/>
            <pc:sldMk cId="2206337066" sldId="2045"/>
            <ac:spMk id="9" creationId="{347C63FD-3F27-AA9E-2A36-868CDE7B4E0A}"/>
          </ac:spMkLst>
        </pc:spChg>
        <pc:spChg chg="mod">
          <ac:chgData name="川尻 まい" userId="35f17af1-76cf-4cee-b2f0-f66b12cb7414" providerId="ADAL" clId="{026E1322-9E64-42BB-BE2E-3DAF2A4C3A89}" dt="2026-02-24T10:14:02.098" v="1329" actId="20577"/>
          <ac:spMkLst>
            <pc:docMk/>
            <pc:sldMk cId="2206337066" sldId="2045"/>
            <ac:spMk id="10" creationId="{253F7D1B-E2AA-FF20-77C8-C1E3663DAC4F}"/>
          </ac:spMkLst>
        </pc:spChg>
        <pc:spChg chg="add mod">
          <ac:chgData name="川尻 まい" userId="35f17af1-76cf-4cee-b2f0-f66b12cb7414" providerId="ADAL" clId="{026E1322-9E64-42BB-BE2E-3DAF2A4C3A89}" dt="2026-02-24T10:17:54.616" v="1404" actId="1035"/>
          <ac:spMkLst>
            <pc:docMk/>
            <pc:sldMk cId="2206337066" sldId="2045"/>
            <ac:spMk id="11" creationId="{321CB4B4-C5C0-3F76-39E3-5A5759EEF6DB}"/>
          </ac:spMkLst>
        </pc:spChg>
        <pc:spChg chg="mod">
          <ac:chgData name="川尻 まい" userId="35f17af1-76cf-4cee-b2f0-f66b12cb7414" providerId="ADAL" clId="{026E1322-9E64-42BB-BE2E-3DAF2A4C3A89}" dt="2026-02-24T10:17:51.205" v="1401" actId="1035"/>
          <ac:spMkLst>
            <pc:docMk/>
            <pc:sldMk cId="2206337066" sldId="2045"/>
            <ac:spMk id="52" creationId="{31CAB318-2888-D004-8A02-AF563D1B21ED}"/>
          </ac:spMkLst>
        </pc:spChg>
      </pc:sldChg>
      <pc:sldChg chg="addSp delSp modSp del mod">
        <pc:chgData name="川尻 まい" userId="35f17af1-76cf-4cee-b2f0-f66b12cb7414" providerId="ADAL" clId="{026E1322-9E64-42BB-BE2E-3DAF2A4C3A89}" dt="2026-02-24T10:32:36.209" v="1673" actId="47"/>
        <pc:sldMkLst>
          <pc:docMk/>
          <pc:sldMk cId="3182320730" sldId="2046"/>
        </pc:sldMkLst>
      </pc:sldChg>
      <pc:sldChg chg="modSp mod">
        <pc:chgData name="川尻 まい" userId="35f17af1-76cf-4cee-b2f0-f66b12cb7414" providerId="ADAL" clId="{026E1322-9E64-42BB-BE2E-3DAF2A4C3A89}" dt="2026-02-24T08:07:13.630" v="2"/>
        <pc:sldMkLst>
          <pc:docMk/>
          <pc:sldMk cId="316286736" sldId="2049"/>
        </pc:sldMkLst>
        <pc:spChg chg="mod">
          <ac:chgData name="川尻 まい" userId="35f17af1-76cf-4cee-b2f0-f66b12cb7414" providerId="ADAL" clId="{026E1322-9E64-42BB-BE2E-3DAF2A4C3A89}" dt="2026-02-24T08:07:13.630" v="2"/>
          <ac:spMkLst>
            <pc:docMk/>
            <pc:sldMk cId="316286736" sldId="2049"/>
            <ac:spMk id="21" creationId="{E41E36C4-F282-D8D5-1CF6-DD28156D7020}"/>
          </ac:spMkLst>
        </pc:spChg>
        <pc:spChg chg="mod">
          <ac:chgData name="川尻 まい" userId="35f17af1-76cf-4cee-b2f0-f66b12cb7414" providerId="ADAL" clId="{026E1322-9E64-42BB-BE2E-3DAF2A4C3A89}" dt="2026-02-24T08:07:04.664" v="0"/>
          <ac:spMkLst>
            <pc:docMk/>
            <pc:sldMk cId="316286736" sldId="2049"/>
            <ac:spMk id="28" creationId="{CD29DC75-A87F-DDED-9513-BF5C59385653}"/>
          </ac:spMkLst>
        </pc:spChg>
        <pc:spChg chg="mod">
          <ac:chgData name="川尻 まい" userId="35f17af1-76cf-4cee-b2f0-f66b12cb7414" providerId="ADAL" clId="{026E1322-9E64-42BB-BE2E-3DAF2A4C3A89}" dt="2026-02-24T08:07:09.027" v="1"/>
          <ac:spMkLst>
            <pc:docMk/>
            <pc:sldMk cId="316286736" sldId="2049"/>
            <ac:spMk id="35" creationId="{AEA6276A-4E5C-88A2-DAF3-138E86CC5B46}"/>
          </ac:spMkLst>
        </pc:spChg>
      </pc:sldChg>
      <pc:sldChg chg="modSp mod">
        <pc:chgData name="川尻 まい" userId="35f17af1-76cf-4cee-b2f0-f66b12cb7414" providerId="ADAL" clId="{026E1322-9E64-42BB-BE2E-3DAF2A4C3A89}" dt="2026-02-24T10:40:00.722" v="1681" actId="20577"/>
        <pc:sldMkLst>
          <pc:docMk/>
          <pc:sldMk cId="2048520626" sldId="2050"/>
        </pc:sldMkLst>
        <pc:spChg chg="mod">
          <ac:chgData name="川尻 まい" userId="35f17af1-76cf-4cee-b2f0-f66b12cb7414" providerId="ADAL" clId="{026E1322-9E64-42BB-BE2E-3DAF2A4C3A89}" dt="2026-02-24T10:40:00.722" v="1681" actId="20577"/>
          <ac:spMkLst>
            <pc:docMk/>
            <pc:sldMk cId="2048520626" sldId="2050"/>
            <ac:spMk id="9" creationId="{BB16184B-58DF-F6C4-E7AC-35041ED84526}"/>
          </ac:spMkLst>
        </pc:spChg>
        <pc:spChg chg="mod">
          <ac:chgData name="川尻 まい" userId="35f17af1-76cf-4cee-b2f0-f66b12cb7414" providerId="ADAL" clId="{026E1322-9E64-42BB-BE2E-3DAF2A4C3A89}" dt="2026-02-24T08:07:57.642" v="14"/>
          <ac:spMkLst>
            <pc:docMk/>
            <pc:sldMk cId="2048520626" sldId="2050"/>
            <ac:spMk id="30" creationId="{294708EF-DF87-F3AA-D2CD-3270E245D58F}"/>
          </ac:spMkLst>
        </pc:spChg>
        <pc:spChg chg="mod">
          <ac:chgData name="川尻 まい" userId="35f17af1-76cf-4cee-b2f0-f66b12cb7414" providerId="ADAL" clId="{026E1322-9E64-42BB-BE2E-3DAF2A4C3A89}" dt="2026-02-24T08:25:24.025" v="237" actId="20577"/>
          <ac:spMkLst>
            <pc:docMk/>
            <pc:sldMk cId="2048520626" sldId="2050"/>
            <ac:spMk id="32" creationId="{3F2B71A5-4CBB-244D-EA8A-0B6643C2D6F0}"/>
          </ac:spMkLst>
        </pc:spChg>
      </pc:sldChg>
      <pc:sldChg chg="modSp mod ord">
        <pc:chgData name="川尻 まい" userId="35f17af1-76cf-4cee-b2f0-f66b12cb7414" providerId="ADAL" clId="{026E1322-9E64-42BB-BE2E-3DAF2A4C3A89}" dt="2026-02-24T10:38:41.114" v="1676" actId="20577"/>
        <pc:sldMkLst>
          <pc:docMk/>
          <pc:sldMk cId="779528774" sldId="2051"/>
        </pc:sldMkLst>
        <pc:spChg chg="mod">
          <ac:chgData name="川尻 まい" userId="35f17af1-76cf-4cee-b2f0-f66b12cb7414" providerId="ADAL" clId="{026E1322-9E64-42BB-BE2E-3DAF2A4C3A89}" dt="2026-02-24T08:18:46.498" v="60" actId="20577"/>
          <ac:spMkLst>
            <pc:docMk/>
            <pc:sldMk cId="779528774" sldId="2051"/>
            <ac:spMk id="6" creationId="{5C45E698-AE6F-513C-47E8-88398475EEB5}"/>
          </ac:spMkLst>
        </pc:spChg>
        <pc:spChg chg="mod">
          <ac:chgData name="川尻 まい" userId="35f17af1-76cf-4cee-b2f0-f66b12cb7414" providerId="ADAL" clId="{026E1322-9E64-42BB-BE2E-3DAF2A4C3A89}" dt="2026-02-24T08:16:54.637" v="31"/>
          <ac:spMkLst>
            <pc:docMk/>
            <pc:sldMk cId="779528774" sldId="2051"/>
            <ac:spMk id="10" creationId="{6EF118C2-C194-179C-F664-B75E0BA0EEC1}"/>
          </ac:spMkLst>
        </pc:spChg>
        <pc:spChg chg="mod">
          <ac:chgData name="川尻 まい" userId="35f17af1-76cf-4cee-b2f0-f66b12cb7414" providerId="ADAL" clId="{026E1322-9E64-42BB-BE2E-3DAF2A4C3A89}" dt="2026-02-24T10:18:34.630" v="1408" actId="1035"/>
          <ac:spMkLst>
            <pc:docMk/>
            <pc:sldMk cId="779528774" sldId="2051"/>
            <ac:spMk id="13" creationId="{ECA57F48-656B-47D0-373D-14C48A32D6C4}"/>
          </ac:spMkLst>
        </pc:spChg>
        <pc:spChg chg="mod">
          <ac:chgData name="川尻 まい" userId="35f17af1-76cf-4cee-b2f0-f66b12cb7414" providerId="ADAL" clId="{026E1322-9E64-42BB-BE2E-3DAF2A4C3A89}" dt="2026-02-24T10:38:41.114" v="1676" actId="20577"/>
          <ac:spMkLst>
            <pc:docMk/>
            <pc:sldMk cId="779528774" sldId="2051"/>
            <ac:spMk id="18" creationId="{6E784905-C564-1B53-57BE-422DDEA0D3B7}"/>
          </ac:spMkLst>
        </pc:spChg>
        <pc:spChg chg="mod">
          <ac:chgData name="川尻 まい" userId="35f17af1-76cf-4cee-b2f0-f66b12cb7414" providerId="ADAL" clId="{026E1322-9E64-42BB-BE2E-3DAF2A4C3A89}" dt="2026-02-24T10:18:34.630" v="1408" actId="1035"/>
          <ac:spMkLst>
            <pc:docMk/>
            <pc:sldMk cId="779528774" sldId="2051"/>
            <ac:spMk id="52" creationId="{CF262509-766B-73DE-D818-463E3823C7AF}"/>
          </ac:spMkLst>
        </pc:spChg>
      </pc:sldChg>
      <pc:sldChg chg="del">
        <pc:chgData name="川尻 まい" userId="35f17af1-76cf-4cee-b2f0-f66b12cb7414" providerId="ADAL" clId="{026E1322-9E64-42BB-BE2E-3DAF2A4C3A89}" dt="2026-02-24T08:30:55.055" v="425" actId="47"/>
        <pc:sldMkLst>
          <pc:docMk/>
          <pc:sldMk cId="2953569431" sldId="2052"/>
        </pc:sldMkLst>
      </pc:sldChg>
      <pc:sldChg chg="addSp modSp add mod">
        <pc:chgData name="川尻 まい" userId="35f17af1-76cf-4cee-b2f0-f66b12cb7414" providerId="ADAL" clId="{026E1322-9E64-42BB-BE2E-3DAF2A4C3A89}" dt="2026-02-24T09:47:29.549" v="429" actId="1076"/>
        <pc:sldMkLst>
          <pc:docMk/>
          <pc:sldMk cId="586329683" sldId="2053"/>
        </pc:sldMkLst>
        <pc:spChg chg="mod">
          <ac:chgData name="川尻 まい" userId="35f17af1-76cf-4cee-b2f0-f66b12cb7414" providerId="ADAL" clId="{026E1322-9E64-42BB-BE2E-3DAF2A4C3A89}" dt="2026-02-24T09:47:29.549" v="429" actId="1076"/>
          <ac:spMkLst>
            <pc:docMk/>
            <pc:sldMk cId="586329683" sldId="2053"/>
            <ac:spMk id="11" creationId="{0AE5BA20-E939-4738-3B4D-B5C7258C1A51}"/>
          </ac:spMkLst>
        </pc:spChg>
        <pc:spChg chg="mod">
          <ac:chgData name="川尻 まい" userId="35f17af1-76cf-4cee-b2f0-f66b12cb7414" providerId="ADAL" clId="{026E1322-9E64-42BB-BE2E-3DAF2A4C3A89}" dt="2026-02-24T09:47:29.549" v="429" actId="1076"/>
          <ac:spMkLst>
            <pc:docMk/>
            <pc:sldMk cId="586329683" sldId="2053"/>
            <ac:spMk id="17" creationId="{316AE0C3-08A2-DCF9-512B-A6ACA78EEB39}"/>
          </ac:spMkLst>
        </pc:spChg>
        <pc:spChg chg="mod">
          <ac:chgData name="川尻 まい" userId="35f17af1-76cf-4cee-b2f0-f66b12cb7414" providerId="ADAL" clId="{026E1322-9E64-42BB-BE2E-3DAF2A4C3A89}" dt="2026-02-24T09:47:29.549" v="429" actId="1076"/>
          <ac:spMkLst>
            <pc:docMk/>
            <pc:sldMk cId="586329683" sldId="2053"/>
            <ac:spMk id="18" creationId="{3E1A8D5D-5890-6F5E-CDAC-93A2CAD372D8}"/>
          </ac:spMkLst>
        </pc:spChg>
        <pc:spChg chg="mod">
          <ac:chgData name="川尻 まい" userId="35f17af1-76cf-4cee-b2f0-f66b12cb7414" providerId="ADAL" clId="{026E1322-9E64-42BB-BE2E-3DAF2A4C3A89}" dt="2026-02-24T08:26:31.289" v="260" actId="1076"/>
          <ac:spMkLst>
            <pc:docMk/>
            <pc:sldMk cId="586329683" sldId="2053"/>
            <ac:spMk id="25" creationId="{9E229D80-7D1F-B81D-4598-4309F25B46AB}"/>
          </ac:spMkLst>
        </pc:spChg>
        <pc:spChg chg="add mod ord">
          <ac:chgData name="川尻 まい" userId="35f17af1-76cf-4cee-b2f0-f66b12cb7414" providerId="ADAL" clId="{026E1322-9E64-42BB-BE2E-3DAF2A4C3A89}" dt="2026-02-24T09:47:29.549" v="429" actId="1076"/>
          <ac:spMkLst>
            <pc:docMk/>
            <pc:sldMk cId="586329683" sldId="2053"/>
            <ac:spMk id="27" creationId="{ACEB70F6-A0E8-B424-4231-E0249635591C}"/>
          </ac:spMkLst>
        </pc:spChg>
        <pc:spChg chg="mod">
          <ac:chgData name="川尻 まい" userId="35f17af1-76cf-4cee-b2f0-f66b12cb7414" providerId="ADAL" clId="{026E1322-9E64-42BB-BE2E-3DAF2A4C3A89}" dt="2026-02-24T09:47:29.549" v="429" actId="1076"/>
          <ac:spMkLst>
            <pc:docMk/>
            <pc:sldMk cId="586329683" sldId="2053"/>
            <ac:spMk id="28" creationId="{6352E770-6704-3EC8-6335-3F2B4AE9A27F}"/>
          </ac:spMkLst>
        </pc:spChg>
        <pc:spChg chg="mod ord">
          <ac:chgData name="川尻 まい" userId="35f17af1-76cf-4cee-b2f0-f66b12cb7414" providerId="ADAL" clId="{026E1322-9E64-42BB-BE2E-3DAF2A4C3A89}" dt="2026-02-24T08:30:42.406" v="419" actId="1076"/>
          <ac:spMkLst>
            <pc:docMk/>
            <pc:sldMk cId="586329683" sldId="2053"/>
            <ac:spMk id="56" creationId="{822935F0-2B57-D5DA-4D03-B6DD2A6F91E9}"/>
          </ac:spMkLst>
        </pc:spChg>
        <pc:grpChg chg="mod">
          <ac:chgData name="川尻 まい" userId="35f17af1-76cf-4cee-b2f0-f66b12cb7414" providerId="ADAL" clId="{026E1322-9E64-42BB-BE2E-3DAF2A4C3A89}" dt="2026-02-24T08:29:11.499" v="351" actId="164"/>
          <ac:grpSpMkLst>
            <pc:docMk/>
            <pc:sldMk cId="586329683" sldId="2053"/>
            <ac:grpSpMk id="5" creationId="{AB6E7948-029C-35A9-71F7-8038D93B9862}"/>
          </ac:grpSpMkLst>
        </pc:grpChg>
        <pc:cxnChg chg="mod">
          <ac:chgData name="川尻 まい" userId="35f17af1-76cf-4cee-b2f0-f66b12cb7414" providerId="ADAL" clId="{026E1322-9E64-42BB-BE2E-3DAF2A4C3A89}" dt="2026-02-24T09:47:29.549" v="429" actId="1076"/>
          <ac:cxnSpMkLst>
            <pc:docMk/>
            <pc:sldMk cId="586329683" sldId="2053"/>
            <ac:cxnSpMk id="6" creationId="{BA671051-B2F6-92FB-897B-161AD0F0F8AD}"/>
          </ac:cxnSpMkLst>
        </pc:cxnChg>
      </pc:sldChg>
      <pc:sldChg chg="addSp delSp modSp add mod">
        <pc:chgData name="川尻 まい" userId="35f17af1-76cf-4cee-b2f0-f66b12cb7414" providerId="ADAL" clId="{026E1322-9E64-42BB-BE2E-3DAF2A4C3A89}" dt="2026-02-24T10:34:08.601" v="1674" actId="1076"/>
        <pc:sldMkLst>
          <pc:docMk/>
          <pc:sldMk cId="2069976121" sldId="2054"/>
        </pc:sldMkLst>
        <pc:spChg chg="add mod ord">
          <ac:chgData name="川尻 まい" userId="35f17af1-76cf-4cee-b2f0-f66b12cb7414" providerId="ADAL" clId="{026E1322-9E64-42BB-BE2E-3DAF2A4C3A89}" dt="2026-02-24T10:34:08.601" v="1674" actId="1076"/>
          <ac:spMkLst>
            <pc:docMk/>
            <pc:sldMk cId="2069976121" sldId="2054"/>
            <ac:spMk id="6" creationId="{C413BA5C-594F-2300-D410-F70E3B48E49C}"/>
          </ac:spMkLst>
        </pc:spChg>
        <pc:spChg chg="mod">
          <ac:chgData name="川尻 まい" userId="35f17af1-76cf-4cee-b2f0-f66b12cb7414" providerId="ADAL" clId="{026E1322-9E64-42BB-BE2E-3DAF2A4C3A89}" dt="2026-02-24T10:34:08.601" v="1674" actId="1076"/>
          <ac:spMkLst>
            <pc:docMk/>
            <pc:sldMk cId="2069976121" sldId="2054"/>
            <ac:spMk id="17" creationId="{61D4F04B-3072-576E-10AB-6286ECFAF872}"/>
          </ac:spMkLst>
        </pc:spChg>
        <pc:spChg chg="mod">
          <ac:chgData name="川尻 まい" userId="35f17af1-76cf-4cee-b2f0-f66b12cb7414" providerId="ADAL" clId="{026E1322-9E64-42BB-BE2E-3DAF2A4C3A89}" dt="2026-02-24T10:34:08.601" v="1674" actId="1076"/>
          <ac:spMkLst>
            <pc:docMk/>
            <pc:sldMk cId="2069976121" sldId="2054"/>
            <ac:spMk id="18" creationId="{3828B32A-1676-FE9F-F8A9-03AC8326092F}"/>
          </ac:spMkLst>
        </pc:spChg>
        <pc:spChg chg="mod">
          <ac:chgData name="川尻 まい" userId="35f17af1-76cf-4cee-b2f0-f66b12cb7414" providerId="ADAL" clId="{026E1322-9E64-42BB-BE2E-3DAF2A4C3A89}" dt="2026-02-24T10:34:08.601" v="1674" actId="1076"/>
          <ac:spMkLst>
            <pc:docMk/>
            <pc:sldMk cId="2069976121" sldId="2054"/>
            <ac:spMk id="23" creationId="{95AEEAA5-038B-3D74-D71F-72C793819E20}"/>
          </ac:spMkLst>
        </pc:spChg>
        <pc:spChg chg="mod">
          <ac:chgData name="川尻 まい" userId="35f17af1-76cf-4cee-b2f0-f66b12cb7414" providerId="ADAL" clId="{026E1322-9E64-42BB-BE2E-3DAF2A4C3A89}" dt="2026-02-24T10:34:08.601" v="1674" actId="1076"/>
          <ac:spMkLst>
            <pc:docMk/>
            <pc:sldMk cId="2069976121" sldId="2054"/>
            <ac:spMk id="28" creationId="{9E81E623-04E7-FAC7-C300-5046B01DF80A}"/>
          </ac:spMkLst>
        </pc:spChg>
        <pc:spChg chg="mod ord">
          <ac:chgData name="川尻 まい" userId="35f17af1-76cf-4cee-b2f0-f66b12cb7414" providerId="ADAL" clId="{026E1322-9E64-42BB-BE2E-3DAF2A4C3A89}" dt="2026-02-24T10:34:08.601" v="1674" actId="1076"/>
          <ac:spMkLst>
            <pc:docMk/>
            <pc:sldMk cId="2069976121" sldId="2054"/>
            <ac:spMk id="54" creationId="{4CEEE4A6-82E6-91DF-0984-BCF02A48A13B}"/>
          </ac:spMkLst>
        </pc:spChg>
        <pc:spChg chg="mod">
          <ac:chgData name="川尻 まい" userId="35f17af1-76cf-4cee-b2f0-f66b12cb7414" providerId="ADAL" clId="{026E1322-9E64-42BB-BE2E-3DAF2A4C3A89}" dt="2026-02-24T10:30:04.369" v="1655" actId="1076"/>
          <ac:spMkLst>
            <pc:docMk/>
            <pc:sldMk cId="2069976121" sldId="2054"/>
            <ac:spMk id="56" creationId="{48F8FA18-29F8-4E33-ABDC-3732705F8748}"/>
          </ac:spMkLst>
        </pc:spChg>
        <pc:spChg chg="mod">
          <ac:chgData name="川尻 まい" userId="35f17af1-76cf-4cee-b2f0-f66b12cb7414" providerId="ADAL" clId="{026E1322-9E64-42BB-BE2E-3DAF2A4C3A89}" dt="2026-02-24T10:34:08.601" v="1674" actId="1076"/>
          <ac:spMkLst>
            <pc:docMk/>
            <pc:sldMk cId="2069976121" sldId="2054"/>
            <ac:spMk id="62" creationId="{F4E1F247-26DE-BB31-CAB4-3AB047232397}"/>
          </ac:spMkLst>
        </pc:spChg>
        <pc:spChg chg="mod">
          <ac:chgData name="川尻 まい" userId="35f17af1-76cf-4cee-b2f0-f66b12cb7414" providerId="ADAL" clId="{026E1322-9E64-42BB-BE2E-3DAF2A4C3A89}" dt="2026-02-24T10:34:08.601" v="1674" actId="1076"/>
          <ac:spMkLst>
            <pc:docMk/>
            <pc:sldMk cId="2069976121" sldId="2054"/>
            <ac:spMk id="63" creationId="{5001578A-BF41-F852-058C-0604EE9E3016}"/>
          </ac:spMkLst>
        </pc:spChg>
        <pc:grpChg chg="mod">
          <ac:chgData name="川尻 まい" userId="35f17af1-76cf-4cee-b2f0-f66b12cb7414" providerId="ADAL" clId="{026E1322-9E64-42BB-BE2E-3DAF2A4C3A89}" dt="2026-02-24T10:34:08.601" v="1674" actId="1076"/>
          <ac:grpSpMkLst>
            <pc:docMk/>
            <pc:sldMk cId="2069976121" sldId="2054"/>
            <ac:grpSpMk id="27" creationId="{5478EC83-9C5B-0744-5A83-634EDBDEED28}"/>
          </ac:grpSpMkLst>
        </pc:grpChg>
        <pc:cxnChg chg="add mod">
          <ac:chgData name="川尻 まい" userId="35f17af1-76cf-4cee-b2f0-f66b12cb7414" providerId="ADAL" clId="{026E1322-9E64-42BB-BE2E-3DAF2A4C3A89}" dt="2026-02-24T10:34:08.601" v="1674" actId="1076"/>
          <ac:cxnSpMkLst>
            <pc:docMk/>
            <pc:sldMk cId="2069976121" sldId="2054"/>
            <ac:cxnSpMk id="7" creationId="{89E4C52A-CFAC-A790-9D72-13D5142F73D0}"/>
          </ac:cxnSpMkLst>
        </pc:cxnChg>
        <pc:cxnChg chg="add mod">
          <ac:chgData name="川尻 まい" userId="35f17af1-76cf-4cee-b2f0-f66b12cb7414" providerId="ADAL" clId="{026E1322-9E64-42BB-BE2E-3DAF2A4C3A89}" dt="2026-02-24T10:34:08.601" v="1674" actId="1076"/>
          <ac:cxnSpMkLst>
            <pc:docMk/>
            <pc:sldMk cId="2069976121" sldId="2054"/>
            <ac:cxnSpMk id="15" creationId="{140CB892-EF20-2B41-D051-5637E4FFD1A7}"/>
          </ac:cxnSpMkLst>
        </pc:cxnChg>
      </pc:sldChg>
    </pc:docChg>
  </pc:docChgLst>
  <pc:docChgLst>
    <pc:chgData name="川尻 まい" userId="35f17af1-76cf-4cee-b2f0-f66b12cb7414" providerId="ADAL" clId="{DF0F32F0-CEAA-43CE-AB22-11252C2E9D8A}"/>
    <pc:docChg chg="modSld">
      <pc:chgData name="川尻 まい" userId="35f17af1-76cf-4cee-b2f0-f66b12cb7414" providerId="ADAL" clId="{DF0F32F0-CEAA-43CE-AB22-11252C2E9D8A}" dt="2026-02-26T10:23:35.785" v="33" actId="20577"/>
      <pc:docMkLst>
        <pc:docMk/>
      </pc:docMkLst>
      <pc:sldChg chg="modSp mod">
        <pc:chgData name="川尻 まい" userId="35f17af1-76cf-4cee-b2f0-f66b12cb7414" providerId="ADAL" clId="{DF0F32F0-CEAA-43CE-AB22-11252C2E9D8A}" dt="2026-02-26T10:23:35.785" v="33" actId="20577"/>
        <pc:sldMkLst>
          <pc:docMk/>
          <pc:sldMk cId="2048520626" sldId="2050"/>
        </pc:sldMkLst>
        <pc:spChg chg="mod">
          <ac:chgData name="川尻 まい" userId="35f17af1-76cf-4cee-b2f0-f66b12cb7414" providerId="ADAL" clId="{DF0F32F0-CEAA-43CE-AB22-11252C2E9D8A}" dt="2026-02-26T10:23:35.785" v="33" actId="20577"/>
          <ac:spMkLst>
            <pc:docMk/>
            <pc:sldMk cId="2048520626" sldId="2050"/>
            <ac:spMk id="9" creationId="{BB16184B-58DF-F6C4-E7AC-35041ED84526}"/>
          </ac:spMkLst>
        </pc:spChg>
      </pc:sldChg>
    </pc:docChg>
  </pc:docChgLst>
  <pc:docChgLst>
    <pc:chgData name="Nakao, Yuma" userId="0f29af7b-2b01-4e57-9e18-882e39fae61b" providerId="ADAL" clId="{6214044F-7E3A-4F71-BFBE-B935735DDF3D}"/>
    <pc:docChg chg="undo redo custSel modSld">
      <pc:chgData name="Nakao, Yuma" userId="0f29af7b-2b01-4e57-9e18-882e39fae61b" providerId="ADAL" clId="{6214044F-7E3A-4F71-BFBE-B935735DDF3D}" dt="2025-12-19T11:08:18.746" v="700" actId="478"/>
      <pc:docMkLst>
        <pc:docMk/>
      </pc:docMkLst>
      <pc:sldChg chg="addSp delSp modSp mod">
        <pc:chgData name="Nakao, Yuma" userId="0f29af7b-2b01-4e57-9e18-882e39fae61b" providerId="ADAL" clId="{6214044F-7E3A-4F71-BFBE-B935735DDF3D}" dt="2025-12-19T11:08:18.746" v="700" actId="478"/>
        <pc:sldMkLst>
          <pc:docMk/>
          <pc:sldMk cId="2183642442" sldId="2032"/>
        </pc:sldMkLst>
      </pc:sldChg>
    </pc:docChg>
  </pc:docChgLst>
  <pc:docChgLst>
    <pc:chgData name="Kato, Masahiro 4" userId="f2f839af-8092-499e-ad37-968b6e15735c" providerId="ADAL" clId="{FBE0A8F6-8C8B-410D-A1FE-01B1BBF44D3D}"/>
    <pc:docChg chg="undo redo custSel addSld delSld modSld addSection delSection modSection">
      <pc:chgData name="Kato, Masahiro 4" userId="f2f839af-8092-499e-ad37-968b6e15735c" providerId="ADAL" clId="{FBE0A8F6-8C8B-410D-A1FE-01B1BBF44D3D}" dt="2026-02-27T01:01:52.256" v="3305" actId="478"/>
      <pc:docMkLst>
        <pc:docMk/>
      </pc:docMkLst>
      <pc:sldChg chg="del">
        <pc:chgData name="Kato, Masahiro 4" userId="f2f839af-8092-499e-ad37-968b6e15735c" providerId="ADAL" clId="{FBE0A8F6-8C8B-410D-A1FE-01B1BBF44D3D}" dt="2026-02-16T11:57:49.977" v="4" actId="2696"/>
        <pc:sldMkLst>
          <pc:docMk/>
          <pc:sldMk cId="985933523" sldId="1984"/>
        </pc:sldMkLst>
      </pc:sldChg>
      <pc:sldChg chg="add del mod modShow">
        <pc:chgData name="Kato, Masahiro 4" userId="f2f839af-8092-499e-ad37-968b6e15735c" providerId="ADAL" clId="{FBE0A8F6-8C8B-410D-A1FE-01B1BBF44D3D}" dt="2026-02-16T12:56:18.034" v="32" actId="47"/>
        <pc:sldMkLst>
          <pc:docMk/>
          <pc:sldMk cId="2500774610" sldId="1984"/>
        </pc:sldMkLst>
      </pc:sldChg>
      <pc:sldChg chg="del">
        <pc:chgData name="Kato, Masahiro 4" userId="f2f839af-8092-499e-ad37-968b6e15735c" providerId="ADAL" clId="{FBE0A8F6-8C8B-410D-A1FE-01B1BBF44D3D}" dt="2026-02-16T11:57:49.977" v="4" actId="2696"/>
        <pc:sldMkLst>
          <pc:docMk/>
          <pc:sldMk cId="1659794271" sldId="1986"/>
        </pc:sldMkLst>
      </pc:sldChg>
      <pc:sldChg chg="add del mod modShow">
        <pc:chgData name="Kato, Masahiro 4" userId="f2f839af-8092-499e-ad37-968b6e15735c" providerId="ADAL" clId="{FBE0A8F6-8C8B-410D-A1FE-01B1BBF44D3D}" dt="2026-02-16T12:56:18.428" v="34" actId="47"/>
        <pc:sldMkLst>
          <pc:docMk/>
          <pc:sldMk cId="3055456982" sldId="1986"/>
        </pc:sldMkLst>
      </pc:sldChg>
      <pc:sldChg chg="del">
        <pc:chgData name="Kato, Masahiro 4" userId="f2f839af-8092-499e-ad37-968b6e15735c" providerId="ADAL" clId="{FBE0A8F6-8C8B-410D-A1FE-01B1BBF44D3D}" dt="2026-02-16T11:57:49.977" v="4" actId="2696"/>
        <pc:sldMkLst>
          <pc:docMk/>
          <pc:sldMk cId="2745274475" sldId="1988"/>
        </pc:sldMkLst>
      </pc:sldChg>
      <pc:sldChg chg="add del mod modShow">
        <pc:chgData name="Kato, Masahiro 4" userId="f2f839af-8092-499e-ad37-968b6e15735c" providerId="ADAL" clId="{FBE0A8F6-8C8B-410D-A1FE-01B1BBF44D3D}" dt="2026-02-16T12:56:18.192" v="33" actId="47"/>
        <pc:sldMkLst>
          <pc:docMk/>
          <pc:sldMk cId="3714219258" sldId="1988"/>
        </pc:sldMkLst>
      </pc:sldChg>
      <pc:sldChg chg="del">
        <pc:chgData name="Kato, Masahiro 4" userId="f2f839af-8092-499e-ad37-968b6e15735c" providerId="ADAL" clId="{FBE0A8F6-8C8B-410D-A1FE-01B1BBF44D3D}" dt="2026-02-16T11:57:49.977" v="4" actId="2696"/>
        <pc:sldMkLst>
          <pc:docMk/>
          <pc:sldMk cId="2534829503" sldId="2026"/>
        </pc:sldMkLst>
      </pc:sldChg>
      <pc:sldChg chg="add del mod modShow">
        <pc:chgData name="Kato, Masahiro 4" userId="f2f839af-8092-499e-ad37-968b6e15735c" providerId="ADAL" clId="{FBE0A8F6-8C8B-410D-A1FE-01B1BBF44D3D}" dt="2026-02-16T12:56:18.780" v="35" actId="47"/>
        <pc:sldMkLst>
          <pc:docMk/>
          <pc:sldMk cId="4194147184" sldId="2026"/>
        </pc:sldMkLst>
      </pc:sldChg>
      <pc:sldChg chg="add del mod modShow">
        <pc:chgData name="Kato, Masahiro 4" userId="f2f839af-8092-499e-ad37-968b6e15735c" providerId="ADAL" clId="{FBE0A8F6-8C8B-410D-A1FE-01B1BBF44D3D}" dt="2026-02-16T12:56:17.889" v="31" actId="47"/>
        <pc:sldMkLst>
          <pc:docMk/>
          <pc:sldMk cId="1419539563" sldId="2029"/>
        </pc:sldMkLst>
      </pc:sldChg>
      <pc:sldChg chg="del">
        <pc:chgData name="Kato, Masahiro 4" userId="f2f839af-8092-499e-ad37-968b6e15735c" providerId="ADAL" clId="{FBE0A8F6-8C8B-410D-A1FE-01B1BBF44D3D}" dt="2026-02-16T11:57:49.977" v="4" actId="2696"/>
        <pc:sldMkLst>
          <pc:docMk/>
          <pc:sldMk cId="2881991226" sldId="2029"/>
        </pc:sldMkLst>
      </pc:sldChg>
      <pc:sldChg chg="del">
        <pc:chgData name="Kato, Masahiro 4" userId="f2f839af-8092-499e-ad37-968b6e15735c" providerId="ADAL" clId="{FBE0A8F6-8C8B-410D-A1FE-01B1BBF44D3D}" dt="2026-02-16T11:57:49.977" v="4" actId="2696"/>
        <pc:sldMkLst>
          <pc:docMk/>
          <pc:sldMk cId="2183642442" sldId="2032"/>
        </pc:sldMkLst>
      </pc:sldChg>
      <pc:sldChg chg="add del mod modShow">
        <pc:chgData name="Kato, Masahiro 4" userId="f2f839af-8092-499e-ad37-968b6e15735c" providerId="ADAL" clId="{FBE0A8F6-8C8B-410D-A1FE-01B1BBF44D3D}" dt="2026-02-16T12:56:17.712" v="30" actId="47"/>
        <pc:sldMkLst>
          <pc:docMk/>
          <pc:sldMk cId="3419702470" sldId="2032"/>
        </pc:sldMkLst>
      </pc:sldChg>
      <pc:sldChg chg="delSp modSp mod">
        <pc:chgData name="Kato, Masahiro 4" userId="f2f839af-8092-499e-ad37-968b6e15735c" providerId="ADAL" clId="{FBE0A8F6-8C8B-410D-A1FE-01B1BBF44D3D}" dt="2026-02-19T01:21:34.375" v="1807"/>
        <pc:sldMkLst>
          <pc:docMk/>
          <pc:sldMk cId="2636215427" sldId="2033"/>
        </pc:sldMkLst>
        <pc:spChg chg="mod">
          <ac:chgData name="Kato, Masahiro 4" userId="f2f839af-8092-499e-ad37-968b6e15735c" providerId="ADAL" clId="{FBE0A8F6-8C8B-410D-A1FE-01B1BBF44D3D}" dt="2026-02-19T01:21:34.375" v="1805" actId="948"/>
          <ac:spMkLst>
            <pc:docMk/>
            <pc:sldMk cId="2636215427" sldId="2033"/>
            <ac:spMk id="4" creationId="{52B3195D-1874-BECF-8B03-BD24C94E002F}"/>
          </ac:spMkLst>
        </pc:spChg>
        <pc:graphicFrameChg chg="mod">
          <ac:chgData name="Kato, Masahiro 4" userId="f2f839af-8092-499e-ad37-968b6e15735c" providerId="ADAL" clId="{FBE0A8F6-8C8B-410D-A1FE-01B1BBF44D3D}" dt="2026-02-19T01:21:34.375" v="1807"/>
          <ac:graphicFrameMkLst>
            <pc:docMk/>
            <pc:sldMk cId="2636215427" sldId="2033"/>
            <ac:graphicFrameMk id="6" creationId="{8FBED8C7-8452-B1F6-4E79-69CA88AA0264}"/>
          </ac:graphicFrameMkLst>
        </pc:graphicFrameChg>
      </pc:sldChg>
      <pc:sldChg chg="addSp delSp modSp mod">
        <pc:chgData name="Kato, Masahiro 4" userId="f2f839af-8092-499e-ad37-968b6e15735c" providerId="ADAL" clId="{FBE0A8F6-8C8B-410D-A1FE-01B1BBF44D3D}" dt="2026-02-24T06:44:42" v="3275"/>
        <pc:sldMkLst>
          <pc:docMk/>
          <pc:sldMk cId="2799762407" sldId="2034"/>
        </pc:sldMkLst>
        <pc:spChg chg="mod ord">
          <ac:chgData name="Kato, Masahiro 4" userId="f2f839af-8092-499e-ad37-968b6e15735c" providerId="ADAL" clId="{FBE0A8F6-8C8B-410D-A1FE-01B1BBF44D3D}" dt="2026-02-19T01:22:25.921" v="1855" actId="20577"/>
          <ac:spMkLst>
            <pc:docMk/>
            <pc:sldMk cId="2799762407" sldId="2034"/>
            <ac:spMk id="5" creationId="{58F69B85-AA64-D51A-8131-5252C2BA31E0}"/>
          </ac:spMkLst>
        </pc:spChg>
        <pc:spChg chg="mod ord">
          <ac:chgData name="Kato, Masahiro 4" userId="f2f839af-8092-499e-ad37-968b6e15735c" providerId="ADAL" clId="{FBE0A8F6-8C8B-410D-A1FE-01B1BBF44D3D}" dt="2026-02-18T00:41:22.658" v="142"/>
          <ac:spMkLst>
            <pc:docMk/>
            <pc:sldMk cId="2799762407" sldId="2034"/>
            <ac:spMk id="8" creationId="{B30047C6-C47F-EF37-D826-6732AF68F196}"/>
          </ac:spMkLst>
        </pc:spChg>
        <pc:spChg chg="mod ord">
          <ac:chgData name="Kato, Masahiro 4" userId="f2f839af-8092-499e-ad37-968b6e15735c" providerId="ADAL" clId="{FBE0A8F6-8C8B-410D-A1FE-01B1BBF44D3D}" dt="2026-02-18T00:41:22.665" v="158"/>
          <ac:spMkLst>
            <pc:docMk/>
            <pc:sldMk cId="2799762407" sldId="2034"/>
            <ac:spMk id="10" creationId="{2540D298-4C75-4CB4-0068-3F39AB64B1BC}"/>
          </ac:spMkLst>
        </pc:spChg>
        <pc:spChg chg="mod ord">
          <ac:chgData name="Kato, Masahiro 4" userId="f2f839af-8092-499e-ad37-968b6e15735c" providerId="ADAL" clId="{FBE0A8F6-8C8B-410D-A1FE-01B1BBF44D3D}" dt="2026-02-18T00:41:22.662" v="146"/>
          <ac:spMkLst>
            <pc:docMk/>
            <pc:sldMk cId="2799762407" sldId="2034"/>
            <ac:spMk id="11" creationId="{8CA06069-038D-B097-C520-C4951E09418B}"/>
          </ac:spMkLst>
        </pc:spChg>
        <pc:spChg chg="mod ord">
          <ac:chgData name="Kato, Masahiro 4" userId="f2f839af-8092-499e-ad37-968b6e15735c" providerId="ADAL" clId="{FBE0A8F6-8C8B-410D-A1FE-01B1BBF44D3D}" dt="2026-02-19T09:42:04.645" v="1991" actId="20577"/>
          <ac:spMkLst>
            <pc:docMk/>
            <pc:sldMk cId="2799762407" sldId="2034"/>
            <ac:spMk id="14" creationId="{2684ED7B-F519-7A8A-5474-E8FA4C711FAD}"/>
          </ac:spMkLst>
        </pc:spChg>
        <pc:spChg chg="mod ord">
          <ac:chgData name="Kato, Masahiro 4" userId="f2f839af-8092-499e-ad37-968b6e15735c" providerId="ADAL" clId="{FBE0A8F6-8C8B-410D-A1FE-01B1BBF44D3D}" dt="2026-02-18T12:20:20.551" v="1664" actId="20577"/>
          <ac:spMkLst>
            <pc:docMk/>
            <pc:sldMk cId="2799762407" sldId="2034"/>
            <ac:spMk id="15" creationId="{8C9314B8-AFB1-1295-A4C6-1975601FF8AE}"/>
          </ac:spMkLst>
        </pc:spChg>
        <pc:spChg chg="mod ord">
          <ac:chgData name="Kato, Masahiro 4" userId="f2f839af-8092-499e-ad37-968b6e15735c" providerId="ADAL" clId="{FBE0A8F6-8C8B-410D-A1FE-01B1BBF44D3D}" dt="2026-02-24T06:44:42" v="3275"/>
          <ac:spMkLst>
            <pc:docMk/>
            <pc:sldMk cId="2799762407" sldId="2034"/>
            <ac:spMk id="18" creationId="{2C84AD6B-1206-626A-4383-9B5D5808E0BD}"/>
          </ac:spMkLst>
        </pc:spChg>
        <pc:spChg chg="mod ord">
          <ac:chgData name="Kato, Masahiro 4" userId="f2f839af-8092-499e-ad37-968b6e15735c" providerId="ADAL" clId="{FBE0A8F6-8C8B-410D-A1FE-01B1BBF44D3D}" dt="2026-02-18T01:14:12.620" v="1292"/>
          <ac:spMkLst>
            <pc:docMk/>
            <pc:sldMk cId="2799762407" sldId="2034"/>
            <ac:spMk id="23" creationId="{1F6A52F2-6E92-A557-BCCE-0BB4C6F5FFE6}"/>
          </ac:spMkLst>
        </pc:spChg>
        <pc:spChg chg="mod ord">
          <ac:chgData name="Kato, Masahiro 4" userId="f2f839af-8092-499e-ad37-968b6e15735c" providerId="ADAL" clId="{FBE0A8F6-8C8B-410D-A1FE-01B1BBF44D3D}" dt="2026-02-20T08:40:23.417" v="2078" actId="20577"/>
          <ac:spMkLst>
            <pc:docMk/>
            <pc:sldMk cId="2799762407" sldId="2034"/>
            <ac:spMk id="24" creationId="{6AEB0DA2-DA34-84B7-D341-6350FEECC867}"/>
          </ac:spMkLst>
        </pc:spChg>
        <pc:spChg chg="mod ord">
          <ac:chgData name="Kato, Masahiro 4" userId="f2f839af-8092-499e-ad37-968b6e15735c" providerId="ADAL" clId="{FBE0A8F6-8C8B-410D-A1FE-01B1BBF44D3D}" dt="2026-02-18T11:56:22.271" v="1514" actId="403"/>
          <ac:spMkLst>
            <pc:docMk/>
            <pc:sldMk cId="2799762407" sldId="2034"/>
            <ac:spMk id="25" creationId="{7700CF1D-AA9E-3565-2469-0920F7D09258}"/>
          </ac:spMkLst>
        </pc:spChg>
        <pc:spChg chg="mod ord">
          <ac:chgData name="Kato, Masahiro 4" userId="f2f839af-8092-499e-ad37-968b6e15735c" providerId="ADAL" clId="{FBE0A8F6-8C8B-410D-A1FE-01B1BBF44D3D}" dt="2026-02-18T01:14:26.036" v="1300"/>
          <ac:spMkLst>
            <pc:docMk/>
            <pc:sldMk cId="2799762407" sldId="2034"/>
            <ac:spMk id="27" creationId="{A774D522-4D67-92AE-D61C-BA4DE4EC2EE4}"/>
          </ac:spMkLst>
        </pc:spChg>
        <pc:spChg chg="mod ord">
          <ac:chgData name="Kato, Masahiro 4" userId="f2f839af-8092-499e-ad37-968b6e15735c" providerId="ADAL" clId="{FBE0A8F6-8C8B-410D-A1FE-01B1BBF44D3D}" dt="2026-02-20T08:39:02.192" v="2040"/>
          <ac:spMkLst>
            <pc:docMk/>
            <pc:sldMk cId="2799762407" sldId="2034"/>
            <ac:spMk id="28" creationId="{B2EDC647-266E-F8ED-FA44-4CB76A8CBBC4}"/>
          </ac:spMkLst>
        </pc:spChg>
        <pc:spChg chg="mod ord">
          <ac:chgData name="Kato, Masahiro 4" userId="f2f839af-8092-499e-ad37-968b6e15735c" providerId="ADAL" clId="{FBE0A8F6-8C8B-410D-A1FE-01B1BBF44D3D}" dt="2026-02-18T01:14:19.938" v="1296"/>
          <ac:spMkLst>
            <pc:docMk/>
            <pc:sldMk cId="2799762407" sldId="2034"/>
            <ac:spMk id="34" creationId="{443DDD8D-8D5C-05D7-41B1-2619D3F4CEE2}"/>
          </ac:spMkLst>
        </pc:spChg>
        <pc:spChg chg="mod ord">
          <ac:chgData name="Kato, Masahiro 4" userId="f2f839af-8092-499e-ad37-968b6e15735c" providerId="ADAL" clId="{FBE0A8F6-8C8B-410D-A1FE-01B1BBF44D3D}" dt="2026-02-20T08:40:57.850" v="2084" actId="20577"/>
          <ac:spMkLst>
            <pc:docMk/>
            <pc:sldMk cId="2799762407" sldId="2034"/>
            <ac:spMk id="35" creationId="{236C9DF8-D010-7A1C-9FAB-1FB9079039AA}"/>
          </ac:spMkLst>
        </pc:spChg>
        <pc:spChg chg="mod ord">
          <ac:chgData name="Kato, Masahiro 4" userId="f2f839af-8092-499e-ad37-968b6e15735c" providerId="ADAL" clId="{FBE0A8F6-8C8B-410D-A1FE-01B1BBF44D3D}" dt="2026-02-18T11:56:22.271" v="1514" actId="403"/>
          <ac:spMkLst>
            <pc:docMk/>
            <pc:sldMk cId="2799762407" sldId="2034"/>
            <ac:spMk id="40" creationId="{1E2F49BA-85BC-2C12-F2AE-5D8495A4A293}"/>
          </ac:spMkLst>
        </pc:spChg>
        <pc:graphicFrameChg chg="mod">
          <ac:chgData name="Kato, Masahiro 4" userId="f2f839af-8092-499e-ad37-968b6e15735c" providerId="ADAL" clId="{FBE0A8F6-8C8B-410D-A1FE-01B1BBF44D3D}" dt="2026-02-18T00:41:22.666" v="194"/>
          <ac:graphicFrameMkLst>
            <pc:docMk/>
            <pc:sldMk cId="2799762407" sldId="2034"/>
            <ac:graphicFrameMk id="4" creationId="{CD4217C9-B12C-4D04-7781-6C0AAC57DFBB}"/>
          </ac:graphicFrameMkLst>
        </pc:graphicFrameChg>
      </pc:sldChg>
      <pc:sldChg chg="addSp delSp modSp mod">
        <pc:chgData name="Kato, Masahiro 4" userId="f2f839af-8092-499e-ad37-968b6e15735c" providerId="ADAL" clId="{FBE0A8F6-8C8B-410D-A1FE-01B1BBF44D3D}" dt="2026-02-24T07:26:12.920" v="3299"/>
        <pc:sldMkLst>
          <pc:docMk/>
          <pc:sldMk cId="1942732370" sldId="2035"/>
        </pc:sldMkLst>
        <pc:spChg chg="add mod">
          <ac:chgData name="Kato, Masahiro 4" userId="f2f839af-8092-499e-ad37-968b6e15735c" providerId="ADAL" clId="{FBE0A8F6-8C8B-410D-A1FE-01B1BBF44D3D}" dt="2026-02-19T01:22:35.407" v="1859" actId="20577"/>
          <ac:spMkLst>
            <pc:docMk/>
            <pc:sldMk cId="1942732370" sldId="2035"/>
            <ac:spMk id="7" creationId="{687E60B2-1634-3B3F-E02C-A944E0C79D7D}"/>
          </ac:spMkLst>
        </pc:spChg>
        <pc:spChg chg="mod ord">
          <ac:chgData name="Kato, Masahiro 4" userId="f2f839af-8092-499e-ad37-968b6e15735c" providerId="ADAL" clId="{FBE0A8F6-8C8B-410D-A1FE-01B1BBF44D3D}" dt="2026-02-18T01:16:15.547" v="1405"/>
          <ac:spMkLst>
            <pc:docMk/>
            <pc:sldMk cId="1942732370" sldId="2035"/>
            <ac:spMk id="8" creationId="{FCBB4B86-123D-7368-1E76-DFB27692C527}"/>
          </ac:spMkLst>
        </pc:spChg>
        <pc:spChg chg="mod">
          <ac:chgData name="Kato, Masahiro 4" userId="f2f839af-8092-499e-ad37-968b6e15735c" providerId="ADAL" clId="{FBE0A8F6-8C8B-410D-A1FE-01B1BBF44D3D}" dt="2026-02-24T06:44:47.741" v="3280"/>
          <ac:spMkLst>
            <pc:docMk/>
            <pc:sldMk cId="1942732370" sldId="2035"/>
            <ac:spMk id="9" creationId="{DE5D045B-62BC-21DC-2FFE-5DBF975FCDFD}"/>
          </ac:spMkLst>
        </pc:spChg>
        <pc:spChg chg="mod ord">
          <ac:chgData name="Kato, Masahiro 4" userId="f2f839af-8092-499e-ad37-968b6e15735c" providerId="ADAL" clId="{FBE0A8F6-8C8B-410D-A1FE-01B1BBF44D3D}" dt="2026-02-18T01:16:15.563" v="1417"/>
          <ac:spMkLst>
            <pc:docMk/>
            <pc:sldMk cId="1942732370" sldId="2035"/>
            <ac:spMk id="10" creationId="{63B935BE-9226-6BE8-F7C0-73915F8EA73A}"/>
          </ac:spMkLst>
        </pc:spChg>
        <pc:spChg chg="mod ord">
          <ac:chgData name="Kato, Masahiro 4" userId="f2f839af-8092-499e-ad37-968b6e15735c" providerId="ADAL" clId="{FBE0A8F6-8C8B-410D-A1FE-01B1BBF44D3D}" dt="2026-02-18T01:16:15.547" v="1409"/>
          <ac:spMkLst>
            <pc:docMk/>
            <pc:sldMk cId="1942732370" sldId="2035"/>
            <ac:spMk id="11" creationId="{7CF9D943-55CC-A4F4-71B4-229A4F0B0898}"/>
          </ac:spMkLst>
        </pc:spChg>
        <pc:spChg chg="add mod ord">
          <ac:chgData name="Kato, Masahiro 4" userId="f2f839af-8092-499e-ad37-968b6e15735c" providerId="ADAL" clId="{FBE0A8F6-8C8B-410D-A1FE-01B1BBF44D3D}" dt="2026-02-18T01:16:15.563" v="1445"/>
          <ac:spMkLst>
            <pc:docMk/>
            <pc:sldMk cId="1942732370" sldId="2035"/>
            <ac:spMk id="13" creationId="{4F8CF523-042E-B68E-BE63-2DBEC5F6560A}"/>
          </ac:spMkLst>
        </pc:spChg>
        <pc:spChg chg="mod ord">
          <ac:chgData name="Kato, Masahiro 4" userId="f2f839af-8092-499e-ad37-968b6e15735c" providerId="ADAL" clId="{FBE0A8F6-8C8B-410D-A1FE-01B1BBF44D3D}" dt="2026-02-18T01:16:15.563" v="1411"/>
          <ac:spMkLst>
            <pc:docMk/>
            <pc:sldMk cId="1942732370" sldId="2035"/>
            <ac:spMk id="16" creationId="{FD1CD3D1-55AF-17DC-B177-DF84C19B54E2}"/>
          </ac:spMkLst>
        </pc:spChg>
        <pc:spChg chg="add mod ord">
          <ac:chgData name="Kato, Masahiro 4" userId="f2f839af-8092-499e-ad37-968b6e15735c" providerId="ADAL" clId="{FBE0A8F6-8C8B-410D-A1FE-01B1BBF44D3D}" dt="2026-02-18T11:57:15.201" v="1526"/>
          <ac:spMkLst>
            <pc:docMk/>
            <pc:sldMk cId="1942732370" sldId="2035"/>
            <ac:spMk id="20" creationId="{4D665395-0B85-6ED3-6B3D-4E01CA6D1B3F}"/>
          </ac:spMkLst>
        </pc:spChg>
        <pc:spChg chg="mod">
          <ac:chgData name="Kato, Masahiro 4" userId="f2f839af-8092-499e-ad37-968b6e15735c" providerId="ADAL" clId="{FBE0A8F6-8C8B-410D-A1FE-01B1BBF44D3D}" dt="2026-02-19T09:52:44.144" v="1995" actId="6549"/>
          <ac:spMkLst>
            <pc:docMk/>
            <pc:sldMk cId="1942732370" sldId="2035"/>
            <ac:spMk id="24" creationId="{F0ECE2E0-9DA1-AE52-FA9B-0853F16A1902}"/>
          </ac:spMkLst>
        </pc:spChg>
        <pc:spChg chg="mod ord">
          <ac:chgData name="Kato, Masahiro 4" userId="f2f839af-8092-499e-ad37-968b6e15735c" providerId="ADAL" clId="{FBE0A8F6-8C8B-410D-A1FE-01B1BBF44D3D}" dt="2026-02-18T01:16:15.563" v="1423"/>
          <ac:spMkLst>
            <pc:docMk/>
            <pc:sldMk cId="1942732370" sldId="2035"/>
            <ac:spMk id="29" creationId="{A86E5D5F-6AE3-C475-D974-D3DE735CE84E}"/>
          </ac:spMkLst>
        </pc:spChg>
        <pc:spChg chg="mod ord">
          <ac:chgData name="Kato, Masahiro 4" userId="f2f839af-8092-499e-ad37-968b6e15735c" providerId="ADAL" clId="{FBE0A8F6-8C8B-410D-A1FE-01B1BBF44D3D}" dt="2026-02-18T01:16:15.563" v="1415"/>
          <ac:spMkLst>
            <pc:docMk/>
            <pc:sldMk cId="1942732370" sldId="2035"/>
            <ac:spMk id="30" creationId="{84E13CD4-5630-1956-7BE9-AA9E2D27AA63}"/>
          </ac:spMkLst>
        </pc:spChg>
        <pc:spChg chg="mod ord">
          <ac:chgData name="Kato, Masahiro 4" userId="f2f839af-8092-499e-ad37-968b6e15735c" providerId="ADAL" clId="{FBE0A8F6-8C8B-410D-A1FE-01B1BBF44D3D}" dt="2026-02-24T01:37:00.965" v="3095" actId="20577"/>
          <ac:spMkLst>
            <pc:docMk/>
            <pc:sldMk cId="1942732370" sldId="2035"/>
            <ac:spMk id="31" creationId="{FC9AAC06-B512-18B7-A930-FB1DE7B66039}"/>
          </ac:spMkLst>
        </pc:spChg>
        <pc:spChg chg="mod ord">
          <ac:chgData name="Kato, Masahiro 4" userId="f2f839af-8092-499e-ad37-968b6e15735c" providerId="ADAL" clId="{FBE0A8F6-8C8B-410D-A1FE-01B1BBF44D3D}" dt="2026-02-24T07:26:12.920" v="3299"/>
          <ac:spMkLst>
            <pc:docMk/>
            <pc:sldMk cId="1942732370" sldId="2035"/>
            <ac:spMk id="32" creationId="{EFFFF08E-72D1-C8A9-1A8F-FA8EF2D3DCE1}"/>
          </ac:spMkLst>
        </pc:spChg>
        <pc:spChg chg="mod ord">
          <ac:chgData name="Kato, Masahiro 4" userId="f2f839af-8092-499e-ad37-968b6e15735c" providerId="ADAL" clId="{FBE0A8F6-8C8B-410D-A1FE-01B1BBF44D3D}" dt="2026-02-18T11:57:15.201" v="1526"/>
          <ac:spMkLst>
            <pc:docMk/>
            <pc:sldMk cId="1942732370" sldId="2035"/>
            <ac:spMk id="40" creationId="{42F7121C-581F-0FB0-6C4F-29DF0E3BCD33}"/>
          </ac:spMkLst>
        </pc:spChg>
        <pc:spChg chg="mod ord">
          <ac:chgData name="Kato, Masahiro 4" userId="f2f839af-8092-499e-ad37-968b6e15735c" providerId="ADAL" clId="{FBE0A8F6-8C8B-410D-A1FE-01B1BBF44D3D}" dt="2026-02-24T01:36:58.982" v="3091" actId="20577"/>
          <ac:spMkLst>
            <pc:docMk/>
            <pc:sldMk cId="1942732370" sldId="2035"/>
            <ac:spMk id="41" creationId="{8AFDBBFF-3B95-FF9C-C99A-4B83C4111EAB}"/>
          </ac:spMkLst>
        </pc:spChg>
        <pc:graphicFrameChg chg="mod">
          <ac:chgData name="Kato, Masahiro 4" userId="f2f839af-8092-499e-ad37-968b6e15735c" providerId="ADAL" clId="{FBE0A8F6-8C8B-410D-A1FE-01B1BBF44D3D}" dt="2026-02-18T01:16:15.563" v="1459"/>
          <ac:graphicFrameMkLst>
            <pc:docMk/>
            <pc:sldMk cId="1942732370" sldId="2035"/>
            <ac:graphicFrameMk id="4" creationId="{C70062D4-D4E0-C7FD-C83C-F0A5C40086A9}"/>
          </ac:graphicFrameMkLst>
        </pc:graphicFrameChg>
      </pc:sldChg>
      <pc:sldChg chg="addSp delSp modSp del mod">
        <pc:chgData name="Kato, Masahiro 4" userId="f2f839af-8092-499e-ad37-968b6e15735c" providerId="ADAL" clId="{FBE0A8F6-8C8B-410D-A1FE-01B1BBF44D3D}" dt="2026-02-19T06:59:40.662" v="1952" actId="2696"/>
        <pc:sldMkLst>
          <pc:docMk/>
          <pc:sldMk cId="96111614" sldId="2036"/>
        </pc:sldMkLst>
      </pc:sldChg>
      <pc:sldChg chg="add del mod modShow">
        <pc:chgData name="Kato, Masahiro 4" userId="f2f839af-8092-499e-ad37-968b6e15735c" providerId="ADAL" clId="{FBE0A8F6-8C8B-410D-A1FE-01B1BBF44D3D}" dt="2026-02-19T09:45:03.408" v="1994" actId="18676"/>
        <pc:sldMkLst>
          <pc:docMk/>
          <pc:sldMk cId="693801193" sldId="2036"/>
        </pc:sldMkLst>
      </pc:sldChg>
      <pc:sldChg chg="add del mod modShow">
        <pc:chgData name="Kato, Masahiro 4" userId="f2f839af-8092-499e-ad37-968b6e15735c" providerId="ADAL" clId="{FBE0A8F6-8C8B-410D-A1FE-01B1BBF44D3D}" dt="2026-02-19T09:45:03.408" v="1994" actId="18676"/>
        <pc:sldMkLst>
          <pc:docMk/>
          <pc:sldMk cId="283787210" sldId="2037"/>
        </pc:sldMkLst>
      </pc:sldChg>
      <pc:sldChg chg="addSp delSp modSp del mod">
        <pc:chgData name="Kato, Masahiro 4" userId="f2f839af-8092-499e-ad37-968b6e15735c" providerId="ADAL" clId="{FBE0A8F6-8C8B-410D-A1FE-01B1BBF44D3D}" dt="2026-02-19T06:59:40.662" v="1952" actId="2696"/>
        <pc:sldMkLst>
          <pc:docMk/>
          <pc:sldMk cId="3715243626" sldId="2037"/>
        </pc:sldMkLst>
      </pc:sldChg>
      <pc:sldChg chg="modSp del mod">
        <pc:chgData name="Kato, Masahiro 4" userId="f2f839af-8092-499e-ad37-968b6e15735c" providerId="ADAL" clId="{FBE0A8F6-8C8B-410D-A1FE-01B1BBF44D3D}" dt="2026-02-18T12:15:45.713" v="1575" actId="47"/>
        <pc:sldMkLst>
          <pc:docMk/>
          <pc:sldMk cId="1090839447" sldId="2038"/>
        </pc:sldMkLst>
      </pc:sldChg>
      <pc:sldChg chg="add del mod modShow">
        <pc:chgData name="Kato, Masahiro 4" userId="f2f839af-8092-499e-ad37-968b6e15735c" providerId="ADAL" clId="{FBE0A8F6-8C8B-410D-A1FE-01B1BBF44D3D}" dt="2026-02-18T10:11:47.270" v="1488" actId="18676"/>
        <pc:sldMkLst>
          <pc:docMk/>
          <pc:sldMk cId="1587201656" sldId="2039"/>
        </pc:sldMkLst>
      </pc:sldChg>
      <pc:sldChg chg="new del">
        <pc:chgData name="Kato, Masahiro 4" userId="f2f839af-8092-499e-ad37-968b6e15735c" providerId="ADAL" clId="{FBE0A8F6-8C8B-410D-A1FE-01B1BBF44D3D}" dt="2026-02-16T11:57:27.388" v="1" actId="680"/>
        <pc:sldMkLst>
          <pc:docMk/>
          <pc:sldMk cId="1670851594" sldId="2039"/>
        </pc:sldMkLst>
      </pc:sldChg>
      <pc:sldChg chg="add del mod modShow">
        <pc:chgData name="Kato, Masahiro 4" userId="f2f839af-8092-499e-ad37-968b6e15735c" providerId="ADAL" clId="{FBE0A8F6-8C8B-410D-A1FE-01B1BBF44D3D}" dt="2026-02-18T10:11:47.270" v="1488" actId="18676"/>
        <pc:sldMkLst>
          <pc:docMk/>
          <pc:sldMk cId="3460416812" sldId="2040"/>
        </pc:sldMkLst>
      </pc:sldChg>
      <pc:sldChg chg="add del mod modShow">
        <pc:chgData name="Kato, Masahiro 4" userId="f2f839af-8092-499e-ad37-968b6e15735c" providerId="ADAL" clId="{FBE0A8F6-8C8B-410D-A1FE-01B1BBF44D3D}" dt="2026-02-19T09:45:03.408" v="1994" actId="18676"/>
        <pc:sldMkLst>
          <pc:docMk/>
          <pc:sldMk cId="173264870" sldId="2041"/>
        </pc:sldMkLst>
      </pc:sldChg>
      <pc:sldChg chg="addSp delSp modSp add del mod">
        <pc:chgData name="Kato, Masahiro 4" userId="f2f839af-8092-499e-ad37-968b6e15735c" providerId="ADAL" clId="{FBE0A8F6-8C8B-410D-A1FE-01B1BBF44D3D}" dt="2026-02-19T06:58:08.141" v="1902" actId="2696"/>
        <pc:sldMkLst>
          <pc:docMk/>
          <pc:sldMk cId="3295165698" sldId="2041"/>
        </pc:sldMkLst>
      </pc:sldChg>
      <pc:sldChg chg="addSp delSp modSp add del mod">
        <pc:chgData name="Kato, Masahiro 4" userId="f2f839af-8092-499e-ad37-968b6e15735c" providerId="ADAL" clId="{FBE0A8F6-8C8B-410D-A1FE-01B1BBF44D3D}" dt="2026-02-19T06:58:08.141" v="1902" actId="2696"/>
        <pc:sldMkLst>
          <pc:docMk/>
          <pc:sldMk cId="1405625531" sldId="2042"/>
        </pc:sldMkLst>
      </pc:sldChg>
      <pc:sldChg chg="add del mod modShow">
        <pc:chgData name="Kato, Masahiro 4" userId="f2f839af-8092-499e-ad37-968b6e15735c" providerId="ADAL" clId="{FBE0A8F6-8C8B-410D-A1FE-01B1BBF44D3D}" dt="2026-02-19T09:45:03.408" v="1994" actId="18676"/>
        <pc:sldMkLst>
          <pc:docMk/>
          <pc:sldMk cId="3870719275" sldId="2042"/>
        </pc:sldMkLst>
      </pc:sldChg>
      <pc:sldChg chg="addSp delSp modSp add mod">
        <pc:chgData name="Kato, Masahiro 4" userId="f2f839af-8092-499e-ad37-968b6e15735c" providerId="ADAL" clId="{FBE0A8F6-8C8B-410D-A1FE-01B1BBF44D3D}" dt="2026-02-27T01:01:52.256" v="3305" actId="478"/>
        <pc:sldMkLst>
          <pc:docMk/>
          <pc:sldMk cId="829252687" sldId="2043"/>
        </pc:sldMkLst>
        <pc:spChg chg="add mod">
          <ac:chgData name="Kato, Masahiro 4" userId="f2f839af-8092-499e-ad37-968b6e15735c" providerId="ADAL" clId="{FBE0A8F6-8C8B-410D-A1FE-01B1BBF44D3D}" dt="2026-02-27T01:01:50.488" v="3304"/>
          <ac:spMkLst>
            <pc:docMk/>
            <pc:sldMk cId="829252687" sldId="2043"/>
            <ac:spMk id="2" creationId="{2564A34F-4BE5-AC01-9A53-B530EE11A295}"/>
          </ac:spMkLst>
        </pc:spChg>
        <pc:spChg chg="mod">
          <ac:chgData name="Kato, Masahiro 4" userId="f2f839af-8092-499e-ad37-968b6e15735c" providerId="ADAL" clId="{FBE0A8F6-8C8B-410D-A1FE-01B1BBF44D3D}" dt="2026-02-24T03:12:39.773" v="3253"/>
          <ac:spMkLst>
            <pc:docMk/>
            <pc:sldMk cId="829252687" sldId="2043"/>
            <ac:spMk id="8" creationId="{3CA04BC7-4A3C-04F2-CA33-DA4AF2FB1135}"/>
          </ac:spMkLst>
        </pc:spChg>
        <pc:spChg chg="mod">
          <ac:chgData name="Kato, Masahiro 4" userId="f2f839af-8092-499e-ad37-968b6e15735c" providerId="ADAL" clId="{FBE0A8F6-8C8B-410D-A1FE-01B1BBF44D3D}" dt="2026-02-19T09:24:27.597" v="1957" actId="403"/>
          <ac:spMkLst>
            <pc:docMk/>
            <pc:sldMk cId="829252687" sldId="2043"/>
            <ac:spMk id="23" creationId="{A5FA24CD-EBA6-4E93-FCE9-19B9E45AAC3B}"/>
          </ac:spMkLst>
        </pc:spChg>
        <pc:spChg chg="mod">
          <ac:chgData name="Kato, Masahiro 4" userId="f2f839af-8092-499e-ad37-968b6e15735c" providerId="ADAL" clId="{FBE0A8F6-8C8B-410D-A1FE-01B1BBF44D3D}" dt="2026-02-19T06:59:05.763" v="1939"/>
          <ac:spMkLst>
            <pc:docMk/>
            <pc:sldMk cId="829252687" sldId="2043"/>
            <ac:spMk id="24" creationId="{07572E3C-F71F-F5CF-69FD-1B2107521386}"/>
          </ac:spMkLst>
        </pc:spChg>
        <pc:spChg chg="mod">
          <ac:chgData name="Kato, Masahiro 4" userId="f2f839af-8092-499e-ad37-968b6e15735c" providerId="ADAL" clId="{FBE0A8F6-8C8B-410D-A1FE-01B1BBF44D3D}" dt="2026-02-19T09:42:00.412" v="1989" actId="6549"/>
          <ac:spMkLst>
            <pc:docMk/>
            <pc:sldMk cId="829252687" sldId="2043"/>
            <ac:spMk id="46" creationId="{96D259D0-C34E-83A7-8851-7B5049BA2486}"/>
          </ac:spMkLst>
        </pc:spChg>
        <pc:spChg chg="del">
          <ac:chgData name="Kato, Masahiro 4" userId="f2f839af-8092-499e-ad37-968b6e15735c" providerId="ADAL" clId="{FBE0A8F6-8C8B-410D-A1FE-01B1BBF44D3D}" dt="2026-02-27T01:01:52.256" v="3305" actId="478"/>
          <ac:spMkLst>
            <pc:docMk/>
            <pc:sldMk cId="829252687" sldId="2043"/>
            <ac:spMk id="52" creationId="{B2759B26-7063-60F6-1B83-5C40E1CE3745}"/>
          </ac:spMkLst>
        </pc:spChg>
        <pc:graphicFrameChg chg="add mod modGraphic">
          <ac:chgData name="Kato, Masahiro 4" userId="f2f839af-8092-499e-ad37-968b6e15735c" providerId="ADAL" clId="{FBE0A8F6-8C8B-410D-A1FE-01B1BBF44D3D}" dt="2026-02-20T01:29:41.373" v="2001" actId="6549"/>
          <ac:graphicFrameMkLst>
            <pc:docMk/>
            <pc:sldMk cId="829252687" sldId="2043"/>
            <ac:graphicFrameMk id="6" creationId="{0AD80AD7-F16B-8361-5D3E-899F2019AF15}"/>
          </ac:graphicFrameMkLst>
        </pc:graphicFrameChg>
      </pc:sldChg>
      <pc:sldChg chg="addSp delSp modSp add mod">
        <pc:chgData name="Kato, Masahiro 4" userId="f2f839af-8092-499e-ad37-968b6e15735c" providerId="ADAL" clId="{FBE0A8F6-8C8B-410D-A1FE-01B1BBF44D3D}" dt="2026-02-24T03:12:43.515" v="3254"/>
        <pc:sldMkLst>
          <pc:docMk/>
          <pc:sldMk cId="3692777124" sldId="2044"/>
        </pc:sldMkLst>
        <pc:spChg chg="add mod">
          <ac:chgData name="Kato, Masahiro 4" userId="f2f839af-8092-499e-ad37-968b6e15735c" providerId="ADAL" clId="{FBE0A8F6-8C8B-410D-A1FE-01B1BBF44D3D}" dt="2026-02-24T03:12:43.515" v="3254"/>
          <ac:spMkLst>
            <pc:docMk/>
            <pc:sldMk cId="3692777124" sldId="2044"/>
            <ac:spMk id="3" creationId="{7F30A784-33C3-7848-8888-4980CBB91957}"/>
          </ac:spMkLst>
        </pc:spChg>
        <pc:graphicFrameChg chg="mod">
          <ac:chgData name="Kato, Masahiro 4" userId="f2f839af-8092-499e-ad37-968b6e15735c" providerId="ADAL" clId="{FBE0A8F6-8C8B-410D-A1FE-01B1BBF44D3D}" dt="2026-02-19T06:59:11.478" v="1946"/>
          <ac:graphicFrameMkLst>
            <pc:docMk/>
            <pc:sldMk cId="3692777124" sldId="2044"/>
            <ac:graphicFrameMk id="4" creationId="{7E93DBBD-3C31-7B01-647D-B76ED7943B2A}"/>
          </ac:graphicFrameMkLst>
        </pc:graphicFrameChg>
      </pc:sldChg>
      <pc:sldChg chg="addSp delSp modSp add mod">
        <pc:chgData name="Kato, Masahiro 4" userId="f2f839af-8092-499e-ad37-968b6e15735c" providerId="ADAL" clId="{FBE0A8F6-8C8B-410D-A1FE-01B1BBF44D3D}" dt="2026-02-24T06:44:54.483" v="3285"/>
        <pc:sldMkLst>
          <pc:docMk/>
          <pc:sldMk cId="2206337066" sldId="2045"/>
        </pc:sldMkLst>
        <pc:spChg chg="mod">
          <ac:chgData name="Kato, Masahiro 4" userId="f2f839af-8092-499e-ad37-968b6e15735c" providerId="ADAL" clId="{FBE0A8F6-8C8B-410D-A1FE-01B1BBF44D3D}" dt="2026-02-24T06:44:54.483" v="3285"/>
          <ac:spMkLst>
            <pc:docMk/>
            <pc:sldMk cId="2206337066" sldId="2045"/>
            <ac:spMk id="2" creationId="{DD1229C7-161E-C0E1-5B5D-E364FE617736}"/>
          </ac:spMkLst>
        </pc:spChg>
        <pc:spChg chg="mod">
          <ac:chgData name="Kato, Masahiro 4" userId="f2f839af-8092-499e-ad37-968b6e15735c" providerId="ADAL" clId="{FBE0A8F6-8C8B-410D-A1FE-01B1BBF44D3D}" dt="2026-02-20T08:44:08.702" v="2157" actId="20577"/>
          <ac:spMkLst>
            <pc:docMk/>
            <pc:sldMk cId="2206337066" sldId="2045"/>
            <ac:spMk id="6" creationId="{1F48F448-5AF3-DBF0-A760-89D273E45E9C}"/>
          </ac:spMkLst>
        </pc:spChg>
        <pc:spChg chg="mod">
          <ac:chgData name="Kato, Masahiro 4" userId="f2f839af-8092-499e-ad37-968b6e15735c" providerId="ADAL" clId="{FBE0A8F6-8C8B-410D-A1FE-01B1BBF44D3D}" dt="2026-02-24T00:50:27.421" v="3042"/>
          <ac:spMkLst>
            <pc:docMk/>
            <pc:sldMk cId="2206337066" sldId="2045"/>
            <ac:spMk id="8" creationId="{4D48DB26-2315-5EA1-6E3E-6139705BF42D}"/>
          </ac:spMkLst>
        </pc:spChg>
        <pc:spChg chg="mod">
          <ac:chgData name="Kato, Masahiro 4" userId="f2f839af-8092-499e-ad37-968b6e15735c" providerId="ADAL" clId="{FBE0A8F6-8C8B-410D-A1FE-01B1BBF44D3D}" dt="2026-02-20T08:43:32.203" v="2147"/>
          <ac:spMkLst>
            <pc:docMk/>
            <pc:sldMk cId="2206337066" sldId="2045"/>
            <ac:spMk id="9" creationId="{347C63FD-3F27-AA9E-2A36-868CDE7B4E0A}"/>
          </ac:spMkLst>
        </pc:spChg>
        <pc:spChg chg="add del mod">
          <ac:chgData name="Kato, Masahiro 4" userId="f2f839af-8092-499e-ad37-968b6e15735c" providerId="ADAL" clId="{FBE0A8F6-8C8B-410D-A1FE-01B1BBF44D3D}" dt="2026-02-23T15:09:45.671" v="2174"/>
          <ac:spMkLst>
            <pc:docMk/>
            <pc:sldMk cId="2206337066" sldId="2045"/>
            <ac:spMk id="46" creationId="{19FE5652-343A-E4E3-7D40-1D0E228186B2}"/>
          </ac:spMkLst>
        </pc:spChg>
        <pc:spChg chg="mod">
          <ac:chgData name="Kato, Masahiro 4" userId="f2f839af-8092-499e-ad37-968b6e15735c" providerId="ADAL" clId="{FBE0A8F6-8C8B-410D-A1FE-01B1BBF44D3D}" dt="2026-02-24T01:36:49.794" v="3089"/>
          <ac:spMkLst>
            <pc:docMk/>
            <pc:sldMk cId="2206337066" sldId="2045"/>
            <ac:spMk id="52" creationId="{31CAB318-2888-D004-8A02-AF563D1B21ED}"/>
          </ac:spMkLst>
        </pc:spChg>
      </pc:sldChg>
      <pc:sldChg chg="addSp delSp modSp add mod">
        <pc:chgData name="Kato, Masahiro 4" userId="f2f839af-8092-499e-ad37-968b6e15735c" providerId="ADAL" clId="{FBE0A8F6-8C8B-410D-A1FE-01B1BBF44D3D}" dt="2026-02-24T06:44:57.645" v="3290"/>
        <pc:sldMkLst>
          <pc:docMk/>
          <pc:sldMk cId="3182320730" sldId="2046"/>
        </pc:sldMkLst>
      </pc:sldChg>
      <pc:sldChg chg="del">
        <pc:chgData name="Kato, Masahiro 4" userId="f2f839af-8092-499e-ad37-968b6e15735c" providerId="ADAL" clId="{FBE0A8F6-8C8B-410D-A1FE-01B1BBF44D3D}" dt="2026-02-19T09:45:03.408" v="1994" actId="18676"/>
        <pc:sldMkLst>
          <pc:docMk/>
          <pc:sldMk cId="718403273" sldId="2047"/>
        </pc:sldMkLst>
      </pc:sldChg>
      <pc:sldChg chg="add del">
        <pc:chgData name="Kato, Masahiro 4" userId="f2f839af-8092-499e-ad37-968b6e15735c" providerId="ADAL" clId="{FBE0A8F6-8C8B-410D-A1FE-01B1BBF44D3D}" dt="2026-02-23T15:20:03.903" v="2229" actId="18676"/>
        <pc:sldMkLst>
          <pc:docMk/>
          <pc:sldMk cId="4186197813" sldId="2047"/>
        </pc:sldMkLst>
      </pc:sldChg>
      <pc:sldChg chg="add del">
        <pc:chgData name="Kato, Masahiro 4" userId="f2f839af-8092-499e-ad37-968b6e15735c" providerId="ADAL" clId="{FBE0A8F6-8C8B-410D-A1FE-01B1BBF44D3D}" dt="2026-02-23T15:20:03.903" v="2229" actId="18676"/>
        <pc:sldMkLst>
          <pc:docMk/>
          <pc:sldMk cId="1268676889" sldId="2048"/>
        </pc:sldMkLst>
      </pc:sldChg>
      <pc:sldChg chg="del">
        <pc:chgData name="Kato, Masahiro 4" userId="f2f839af-8092-499e-ad37-968b6e15735c" providerId="ADAL" clId="{FBE0A8F6-8C8B-410D-A1FE-01B1BBF44D3D}" dt="2026-02-19T09:45:03.408" v="1994" actId="18676"/>
        <pc:sldMkLst>
          <pc:docMk/>
          <pc:sldMk cId="1941434851" sldId="2048"/>
        </pc:sldMkLst>
      </pc:sldChg>
      <pc:sldChg chg="delSp modSp add mod">
        <pc:chgData name="Kato, Masahiro 4" userId="f2f839af-8092-499e-ad37-968b6e15735c" providerId="ADAL" clId="{FBE0A8F6-8C8B-410D-A1FE-01B1BBF44D3D}" dt="2026-02-23T23:24:26.058" v="2909"/>
        <pc:sldMkLst>
          <pc:docMk/>
          <pc:sldMk cId="316286736" sldId="2049"/>
        </pc:sldMkLst>
        <pc:spChg chg="mod">
          <ac:chgData name="Kato, Masahiro 4" userId="f2f839af-8092-499e-ad37-968b6e15735c" providerId="ADAL" clId="{FBE0A8F6-8C8B-410D-A1FE-01B1BBF44D3D}" dt="2026-02-23T23:24:26.058" v="2909"/>
          <ac:spMkLst>
            <pc:docMk/>
            <pc:sldMk cId="316286736" sldId="2049"/>
            <ac:spMk id="18" creationId="{A0B69FE0-1F5C-6599-8DE8-AA0806B1EFEB}"/>
          </ac:spMkLst>
        </pc:spChg>
        <pc:spChg chg="mod">
          <ac:chgData name="Kato, Masahiro 4" userId="f2f839af-8092-499e-ad37-968b6e15735c" providerId="ADAL" clId="{FBE0A8F6-8C8B-410D-A1FE-01B1BBF44D3D}" dt="2026-02-23T15:23:54.268" v="2323" actId="20577"/>
          <ac:spMkLst>
            <pc:docMk/>
            <pc:sldMk cId="316286736" sldId="2049"/>
            <ac:spMk id="21" creationId="{E41E36C4-F282-D8D5-1CF6-DD28156D7020}"/>
          </ac:spMkLst>
        </pc:spChg>
        <pc:spChg chg="mod">
          <ac:chgData name="Kato, Masahiro 4" userId="f2f839af-8092-499e-ad37-968b6e15735c" providerId="ADAL" clId="{FBE0A8F6-8C8B-410D-A1FE-01B1BBF44D3D}" dt="2026-02-23T15:32:58.084" v="2490"/>
          <ac:spMkLst>
            <pc:docMk/>
            <pc:sldMk cId="316286736" sldId="2049"/>
            <ac:spMk id="24" creationId="{799EE01F-4D36-6F7F-1B59-85F0DA10C9FA}"/>
          </ac:spMkLst>
        </pc:spChg>
        <pc:spChg chg="mod">
          <ac:chgData name="Kato, Masahiro 4" userId="f2f839af-8092-499e-ad37-968b6e15735c" providerId="ADAL" clId="{FBE0A8F6-8C8B-410D-A1FE-01B1BBF44D3D}" dt="2026-02-23T15:23:10.876" v="2248" actId="20577"/>
          <ac:spMkLst>
            <pc:docMk/>
            <pc:sldMk cId="316286736" sldId="2049"/>
            <ac:spMk id="28" creationId="{CD29DC75-A87F-DDED-9513-BF5C59385653}"/>
          </ac:spMkLst>
        </pc:spChg>
        <pc:spChg chg="mod">
          <ac:chgData name="Kato, Masahiro 4" userId="f2f839af-8092-499e-ad37-968b6e15735c" providerId="ADAL" clId="{FBE0A8F6-8C8B-410D-A1FE-01B1BBF44D3D}" dt="2026-02-23T15:23:08.777" v="2247" actId="20577"/>
          <ac:spMkLst>
            <pc:docMk/>
            <pc:sldMk cId="316286736" sldId="2049"/>
            <ac:spMk id="35" creationId="{AEA6276A-4E5C-88A2-DAF3-138E86CC5B46}"/>
          </ac:spMkLst>
        </pc:spChg>
      </pc:sldChg>
      <pc:sldChg chg="addSp delSp modSp add mod">
        <pc:chgData name="Kato, Masahiro 4" userId="f2f839af-8092-499e-ad37-968b6e15735c" providerId="ADAL" clId="{FBE0A8F6-8C8B-410D-A1FE-01B1BBF44D3D}" dt="2026-02-24T01:55:16.928" v="3250"/>
        <pc:sldMkLst>
          <pc:docMk/>
          <pc:sldMk cId="2048520626" sldId="2050"/>
        </pc:sldMkLst>
        <pc:spChg chg="mod">
          <ac:chgData name="Kato, Masahiro 4" userId="f2f839af-8092-499e-ad37-968b6e15735c" providerId="ADAL" clId="{FBE0A8F6-8C8B-410D-A1FE-01B1BBF44D3D}" dt="2026-02-23T23:23:50.873" v="2908"/>
          <ac:spMkLst>
            <pc:docMk/>
            <pc:sldMk cId="2048520626" sldId="2050"/>
            <ac:spMk id="9" creationId="{BB16184B-58DF-F6C4-E7AC-35041ED84526}"/>
          </ac:spMkLst>
        </pc:spChg>
        <pc:spChg chg="mod">
          <ac:chgData name="Kato, Masahiro 4" userId="f2f839af-8092-499e-ad37-968b6e15735c" providerId="ADAL" clId="{FBE0A8F6-8C8B-410D-A1FE-01B1BBF44D3D}" dt="2026-02-24T01:55:16.928" v="3250"/>
          <ac:spMkLst>
            <pc:docMk/>
            <pc:sldMk cId="2048520626" sldId="2050"/>
            <ac:spMk id="23" creationId="{39EBC534-CA99-F174-E4E2-BCE633B826B7}"/>
          </ac:spMkLst>
        </pc:spChg>
        <pc:spChg chg="mod">
          <ac:chgData name="Kato, Masahiro 4" userId="f2f839af-8092-499e-ad37-968b6e15735c" providerId="ADAL" clId="{FBE0A8F6-8C8B-410D-A1FE-01B1BBF44D3D}" dt="2026-02-24T01:55:16.928" v="3248"/>
          <ac:spMkLst>
            <pc:docMk/>
            <pc:sldMk cId="2048520626" sldId="2050"/>
            <ac:spMk id="24" creationId="{3AF49A19-0226-4121-1404-0FEAEBBAB2D0}"/>
          </ac:spMkLst>
        </pc:spChg>
        <pc:spChg chg="mod">
          <ac:chgData name="Kato, Masahiro 4" userId="f2f839af-8092-499e-ad37-968b6e15735c" providerId="ADAL" clId="{FBE0A8F6-8C8B-410D-A1FE-01B1BBF44D3D}" dt="2026-02-24T01:55:01.465" v="3228"/>
          <ac:spMkLst>
            <pc:docMk/>
            <pc:sldMk cId="2048520626" sldId="2050"/>
            <ac:spMk id="29" creationId="{BD168CE9-183E-EF59-3FE6-75B37CD88F4D}"/>
          </ac:spMkLst>
        </pc:spChg>
        <pc:spChg chg="mod">
          <ac:chgData name="Kato, Masahiro 4" userId="f2f839af-8092-499e-ad37-968b6e15735c" providerId="ADAL" clId="{FBE0A8F6-8C8B-410D-A1FE-01B1BBF44D3D}" dt="2026-02-24T01:54:51.709" v="3218" actId="465"/>
          <ac:spMkLst>
            <pc:docMk/>
            <pc:sldMk cId="2048520626" sldId="2050"/>
            <ac:spMk id="30" creationId="{294708EF-DF87-F3AA-D2CD-3270E245D58F}"/>
          </ac:spMkLst>
        </pc:spChg>
        <pc:spChg chg="mod">
          <ac:chgData name="Kato, Masahiro 4" userId="f2f839af-8092-499e-ad37-968b6e15735c" providerId="ADAL" clId="{FBE0A8F6-8C8B-410D-A1FE-01B1BBF44D3D}" dt="2026-02-24T01:55:12.897" v="3246"/>
          <ac:spMkLst>
            <pc:docMk/>
            <pc:sldMk cId="2048520626" sldId="2050"/>
            <ac:spMk id="31" creationId="{2DDB0F87-D1C1-68EE-D339-A3CC5CFDDB94}"/>
          </ac:spMkLst>
        </pc:spChg>
        <pc:spChg chg="mod">
          <ac:chgData name="Kato, Masahiro 4" userId="f2f839af-8092-499e-ad37-968b6e15735c" providerId="ADAL" clId="{FBE0A8F6-8C8B-410D-A1FE-01B1BBF44D3D}" dt="2026-02-24T01:54:51.709" v="3218" actId="465"/>
          <ac:spMkLst>
            <pc:docMk/>
            <pc:sldMk cId="2048520626" sldId="2050"/>
            <ac:spMk id="32" creationId="{3F2B71A5-4CBB-244D-EA8A-0B6643C2D6F0}"/>
          </ac:spMkLst>
        </pc:spChg>
        <pc:spChg chg="mod">
          <ac:chgData name="Kato, Masahiro 4" userId="f2f839af-8092-499e-ad37-968b6e15735c" providerId="ADAL" clId="{FBE0A8F6-8C8B-410D-A1FE-01B1BBF44D3D}" dt="2026-02-24T01:55:08.213" v="3234"/>
          <ac:spMkLst>
            <pc:docMk/>
            <pc:sldMk cId="2048520626" sldId="2050"/>
            <ac:spMk id="40" creationId="{0ED63584-DCF6-525A-98A4-8D720D6F9892}"/>
          </ac:spMkLst>
        </pc:spChg>
        <pc:spChg chg="mod">
          <ac:chgData name="Kato, Masahiro 4" userId="f2f839af-8092-499e-ad37-968b6e15735c" providerId="ADAL" clId="{FBE0A8F6-8C8B-410D-A1FE-01B1BBF44D3D}" dt="2026-02-24T01:55:12.897" v="3244"/>
          <ac:spMkLst>
            <pc:docMk/>
            <pc:sldMk cId="2048520626" sldId="2050"/>
            <ac:spMk id="41" creationId="{46243CBB-3205-4CB3-55B6-2BE8D90B9090}"/>
          </ac:spMkLst>
        </pc:spChg>
      </pc:sldChg>
      <pc:sldChg chg="addSp delSp modSp add mod">
        <pc:chgData name="Kato, Masahiro 4" userId="f2f839af-8092-499e-ad37-968b6e15735c" providerId="ADAL" clId="{FBE0A8F6-8C8B-410D-A1FE-01B1BBF44D3D}" dt="2026-02-24T01:54:35.564" v="3215"/>
        <pc:sldMkLst>
          <pc:docMk/>
          <pc:sldMk cId="779528774" sldId="2051"/>
        </pc:sldMkLst>
        <pc:spChg chg="mod">
          <ac:chgData name="Kato, Masahiro 4" userId="f2f839af-8092-499e-ad37-968b6e15735c" providerId="ADAL" clId="{FBE0A8F6-8C8B-410D-A1FE-01B1BBF44D3D}" dt="2026-02-23T23:21:12.077" v="2824" actId="14100"/>
          <ac:spMkLst>
            <pc:docMk/>
            <pc:sldMk cId="779528774" sldId="2051"/>
            <ac:spMk id="6" creationId="{5C45E698-AE6F-513C-47E8-88398475EEB5}"/>
          </ac:spMkLst>
        </pc:spChg>
        <pc:spChg chg="mod">
          <ac:chgData name="Kato, Masahiro 4" userId="f2f839af-8092-499e-ad37-968b6e15735c" providerId="ADAL" clId="{FBE0A8F6-8C8B-410D-A1FE-01B1BBF44D3D}" dt="2026-02-23T15:32:29.143" v="2487" actId="20577"/>
          <ac:spMkLst>
            <pc:docMk/>
            <pc:sldMk cId="779528774" sldId="2051"/>
            <ac:spMk id="8" creationId="{100B3684-D8F0-F564-566A-702E3A3F5588}"/>
          </ac:spMkLst>
        </pc:spChg>
        <pc:spChg chg="mod">
          <ac:chgData name="Kato, Masahiro 4" userId="f2f839af-8092-499e-ad37-968b6e15735c" providerId="ADAL" clId="{FBE0A8F6-8C8B-410D-A1FE-01B1BBF44D3D}" dt="2026-02-23T15:32:35.175" v="2488"/>
          <ac:spMkLst>
            <pc:docMk/>
            <pc:sldMk cId="779528774" sldId="2051"/>
            <ac:spMk id="9" creationId="{B2901DAA-3107-4575-877D-27EEE0DDA0FE}"/>
          </ac:spMkLst>
        </pc:spChg>
        <pc:spChg chg="mod">
          <ac:chgData name="Kato, Masahiro 4" userId="f2f839af-8092-499e-ad37-968b6e15735c" providerId="ADAL" clId="{FBE0A8F6-8C8B-410D-A1FE-01B1BBF44D3D}" dt="2026-02-23T15:34:57.387" v="2534" actId="1035"/>
          <ac:spMkLst>
            <pc:docMk/>
            <pc:sldMk cId="779528774" sldId="2051"/>
            <ac:spMk id="10" creationId="{6EF118C2-C194-179C-F664-B75E0BA0EEC1}"/>
          </ac:spMkLst>
        </pc:spChg>
        <pc:spChg chg="mod">
          <ac:chgData name="Kato, Masahiro 4" userId="f2f839af-8092-499e-ad37-968b6e15735c" providerId="ADAL" clId="{FBE0A8F6-8C8B-410D-A1FE-01B1BBF44D3D}" dt="2026-02-24T01:54:35.564" v="3215"/>
          <ac:spMkLst>
            <pc:docMk/>
            <pc:sldMk cId="779528774" sldId="2051"/>
            <ac:spMk id="13" creationId="{ECA57F48-656B-47D0-373D-14C48A32D6C4}"/>
          </ac:spMkLst>
        </pc:spChg>
        <pc:spChg chg="add mod">
          <ac:chgData name="Kato, Masahiro 4" userId="f2f839af-8092-499e-ad37-968b6e15735c" providerId="ADAL" clId="{FBE0A8F6-8C8B-410D-A1FE-01B1BBF44D3D}" dt="2026-02-23T15:31:33.041" v="2470"/>
          <ac:spMkLst>
            <pc:docMk/>
            <pc:sldMk cId="779528774" sldId="2051"/>
            <ac:spMk id="16" creationId="{FC8359A7-C5EF-16D4-31EC-6F401233D3D1}"/>
          </ac:spMkLst>
        </pc:spChg>
        <pc:spChg chg="add mod">
          <ac:chgData name="Kato, Masahiro 4" userId="f2f839af-8092-499e-ad37-968b6e15735c" providerId="ADAL" clId="{FBE0A8F6-8C8B-410D-A1FE-01B1BBF44D3D}" dt="2026-02-23T23:24:47.651" v="2912"/>
          <ac:spMkLst>
            <pc:docMk/>
            <pc:sldMk cId="779528774" sldId="2051"/>
            <ac:spMk id="18" creationId="{6E784905-C564-1B53-57BE-422DDEA0D3B7}"/>
          </ac:spMkLst>
        </pc:spChg>
        <pc:spChg chg="mod">
          <ac:chgData name="Kato, Masahiro 4" userId="f2f839af-8092-499e-ad37-968b6e15735c" providerId="ADAL" clId="{FBE0A8F6-8C8B-410D-A1FE-01B1BBF44D3D}" dt="2026-02-23T23:25:06.672" v="2929"/>
          <ac:spMkLst>
            <pc:docMk/>
            <pc:sldMk cId="779528774" sldId="2051"/>
            <ac:spMk id="44" creationId="{CDC0666C-6DDD-F8C5-B05D-7B52B954F732}"/>
          </ac:spMkLst>
        </pc:spChg>
        <pc:spChg chg="mod">
          <ac:chgData name="Kato, Masahiro 4" userId="f2f839af-8092-499e-ad37-968b6e15735c" providerId="ADAL" clId="{FBE0A8F6-8C8B-410D-A1FE-01B1BBF44D3D}" dt="2026-02-24T01:36:30.757" v="3081" actId="20577"/>
          <ac:spMkLst>
            <pc:docMk/>
            <pc:sldMk cId="779528774" sldId="2051"/>
            <ac:spMk id="52" creationId="{CF262509-766B-73DE-D818-463E3823C7AF}"/>
          </ac:spMkLst>
        </pc:spChg>
      </pc:sldChg>
      <pc:sldChg chg="addSp delSp modSp add mod">
        <pc:chgData name="Kato, Masahiro 4" userId="f2f839af-8092-499e-ad37-968b6e15735c" providerId="ADAL" clId="{FBE0A8F6-8C8B-410D-A1FE-01B1BBF44D3D}" dt="2026-02-24T00:44:59.688" v="3037" actId="20577"/>
        <pc:sldMkLst>
          <pc:docMk/>
          <pc:sldMk cId="2953569431" sldId="2052"/>
        </pc:sldMkLst>
      </pc:sldChg>
    </pc:docChg>
  </pc:docChgLst>
  <pc:docChgLst>
    <pc:chgData name="Kato, Masahiro 4" userId="f2f839af-8092-499e-ad37-968b6e15735c" providerId="ADAL" clId="{55DE9A7D-B1C1-47F5-8CE6-1703130A2672}"/>
    <pc:docChg chg="undo custSel addSld modSld sldOrd addSection delSection modSection">
      <pc:chgData name="Kato, Masahiro 4" userId="f2f839af-8092-499e-ad37-968b6e15735c" providerId="ADAL" clId="{55DE9A7D-B1C1-47F5-8CE6-1703130A2672}" dt="2025-12-17T04:10:57.802" v="3525" actId="20577"/>
      <pc:docMkLst>
        <pc:docMk/>
      </pc:docMkLst>
      <pc:sldChg chg="mod ord modShow">
        <pc:chgData name="Kato, Masahiro 4" userId="f2f839af-8092-499e-ad37-968b6e15735c" providerId="ADAL" clId="{55DE9A7D-B1C1-47F5-8CE6-1703130A2672}" dt="2025-12-16T15:45:18.350" v="2396" actId="729"/>
        <pc:sldMkLst>
          <pc:docMk/>
          <pc:sldMk cId="2237344307" sldId="256"/>
        </pc:sldMkLst>
      </pc:sldChg>
      <pc:sldChg chg="modSp mod">
        <pc:chgData name="Kato, Masahiro 4" userId="f2f839af-8092-499e-ad37-968b6e15735c" providerId="ADAL" clId="{55DE9A7D-B1C1-47F5-8CE6-1703130A2672}" dt="2025-12-16T08:30:16.661" v="495" actId="1076"/>
        <pc:sldMkLst>
          <pc:docMk/>
          <pc:sldMk cId="2122372766" sldId="257"/>
        </pc:sldMkLst>
      </pc:sldChg>
      <pc:sldChg chg="addSp delSp modSp mod">
        <pc:chgData name="Kato, Masahiro 4" userId="f2f839af-8092-499e-ad37-968b6e15735c" providerId="ADAL" clId="{55DE9A7D-B1C1-47F5-8CE6-1703130A2672}" dt="2025-12-16T08:30:45.295" v="653" actId="165"/>
        <pc:sldMkLst>
          <pc:docMk/>
          <pc:sldMk cId="2098259246" sldId="261"/>
        </pc:sldMkLst>
      </pc:sldChg>
      <pc:sldChg chg="addSp delSp modSp mod">
        <pc:chgData name="Kato, Masahiro 4" userId="f2f839af-8092-499e-ad37-968b6e15735c" providerId="ADAL" clId="{55DE9A7D-B1C1-47F5-8CE6-1703130A2672}" dt="2025-12-17T01:33:57.836" v="3077" actId="20577"/>
        <pc:sldMkLst>
          <pc:docMk/>
          <pc:sldMk cId="985933523" sldId="1984"/>
        </pc:sldMkLst>
      </pc:sldChg>
      <pc:sldChg chg="addSp delSp modSp mod modShow">
        <pc:chgData name="Kato, Masahiro 4" userId="f2f839af-8092-499e-ad37-968b6e15735c" providerId="ADAL" clId="{55DE9A7D-B1C1-47F5-8CE6-1703130A2672}" dt="2025-12-17T03:40:39.567" v="3390" actId="6549"/>
        <pc:sldMkLst>
          <pc:docMk/>
          <pc:sldMk cId="1659794271" sldId="1986"/>
        </pc:sldMkLst>
      </pc:sldChg>
      <pc:sldChg chg="addSp delSp modSp mod">
        <pc:chgData name="Kato, Masahiro 4" userId="f2f839af-8092-499e-ad37-968b6e15735c" providerId="ADAL" clId="{55DE9A7D-B1C1-47F5-8CE6-1703130A2672}" dt="2025-12-17T01:38:08.757" v="3300" actId="113"/>
        <pc:sldMkLst>
          <pc:docMk/>
          <pc:sldMk cId="2745274475" sldId="1988"/>
        </pc:sldMkLst>
      </pc:sldChg>
      <pc:sldChg chg="addSp delSp modSp mod">
        <pc:chgData name="Kato, Masahiro 4" userId="f2f839af-8092-499e-ad37-968b6e15735c" providerId="ADAL" clId="{55DE9A7D-B1C1-47F5-8CE6-1703130A2672}" dt="2025-12-17T03:14:09.277" v="3378" actId="478"/>
        <pc:sldMkLst>
          <pc:docMk/>
          <pc:sldMk cId="350403166" sldId="2006"/>
        </pc:sldMkLst>
      </pc:sldChg>
      <pc:sldChg chg="modSp mod">
        <pc:chgData name="Kato, Masahiro 4" userId="f2f839af-8092-499e-ad37-968b6e15735c" providerId="ADAL" clId="{55DE9A7D-B1C1-47F5-8CE6-1703130A2672}" dt="2025-12-17T00:20:53.149" v="2657"/>
        <pc:sldMkLst>
          <pc:docMk/>
          <pc:sldMk cId="2534829503" sldId="2026"/>
        </pc:sldMkLst>
      </pc:sldChg>
      <pc:sldChg chg="addSp modSp mod">
        <pc:chgData name="Kato, Masahiro 4" userId="f2f839af-8092-499e-ad37-968b6e15735c" providerId="ADAL" clId="{55DE9A7D-B1C1-47F5-8CE6-1703130A2672}" dt="2025-12-17T03:16:39.171" v="3386" actId="20577"/>
        <pc:sldMkLst>
          <pc:docMk/>
          <pc:sldMk cId="826555675" sldId="2027"/>
        </pc:sldMkLst>
      </pc:sldChg>
      <pc:sldChg chg="addSp delSp modSp mod">
        <pc:chgData name="Kato, Masahiro 4" userId="f2f839af-8092-499e-ad37-968b6e15735c" providerId="ADAL" clId="{55DE9A7D-B1C1-47F5-8CE6-1703130A2672}" dt="2025-12-17T03:16:32.375" v="3383" actId="20577"/>
        <pc:sldMkLst>
          <pc:docMk/>
          <pc:sldMk cId="3617648504" sldId="2028"/>
        </pc:sldMkLst>
      </pc:sldChg>
      <pc:sldChg chg="addSp delSp modSp new mod chgLayout">
        <pc:chgData name="Kato, Masahiro 4" userId="f2f839af-8092-499e-ad37-968b6e15735c" providerId="ADAL" clId="{55DE9A7D-B1C1-47F5-8CE6-1703130A2672}" dt="2025-12-17T01:33:14.320" v="3013" actId="478"/>
        <pc:sldMkLst>
          <pc:docMk/>
          <pc:sldMk cId="2881991226" sldId="2029"/>
        </pc:sldMkLst>
      </pc:sldChg>
      <pc:sldChg chg="add mod ord modShow">
        <pc:chgData name="Kato, Masahiro 4" userId="f2f839af-8092-499e-ad37-968b6e15735c" providerId="ADAL" clId="{55DE9A7D-B1C1-47F5-8CE6-1703130A2672}" dt="2025-12-16T12:37:34.994" v="904" actId="729"/>
        <pc:sldMkLst>
          <pc:docMk/>
          <pc:sldMk cId="1275193334" sldId="2030"/>
        </pc:sldMkLst>
      </pc:sldChg>
      <pc:sldChg chg="add mod ord modShow">
        <pc:chgData name="Kato, Masahiro 4" userId="f2f839af-8092-499e-ad37-968b6e15735c" providerId="ADAL" clId="{55DE9A7D-B1C1-47F5-8CE6-1703130A2672}" dt="2025-12-16T13:03:30.707" v="1412" actId="729"/>
        <pc:sldMkLst>
          <pc:docMk/>
          <pc:sldMk cId="991150173" sldId="2031"/>
        </pc:sldMkLst>
      </pc:sldChg>
      <pc:sldChg chg="addSp modSp new mod">
        <pc:chgData name="Kato, Masahiro 4" userId="f2f839af-8092-499e-ad37-968b6e15735c" providerId="ADAL" clId="{55DE9A7D-B1C1-47F5-8CE6-1703130A2672}" dt="2025-12-17T04:10:57.802" v="3525" actId="20577"/>
        <pc:sldMkLst>
          <pc:docMk/>
          <pc:sldMk cId="2183642442" sldId="2032"/>
        </pc:sldMkLst>
      </pc:sldChg>
    </pc:docChg>
  </pc:docChgLst>
  <pc:docChgLst>
    <pc:chgData name="Nakao, Yuma" userId="0f29af7b-2b01-4e57-9e18-882e39fae61b" providerId="ADAL" clId="{2C6F8F09-DE54-4FC8-B1C0-EFEAA5F261FD}"/>
    <pc:docChg chg="undo custSel addSld delSld modSld sldOrd delSection modSection">
      <pc:chgData name="Nakao, Yuma" userId="0f29af7b-2b01-4e57-9e18-882e39fae61b" providerId="ADAL" clId="{2C6F8F09-DE54-4FC8-B1C0-EFEAA5F261FD}" dt="2025-12-16T08:42:17.170" v="1628" actId="555"/>
      <pc:docMkLst>
        <pc:docMk/>
      </pc:docMkLst>
      <pc:sldChg chg="del">
        <pc:chgData name="Nakao, Yuma" userId="0f29af7b-2b01-4e57-9e18-882e39fae61b" providerId="ADAL" clId="{2C6F8F09-DE54-4FC8-B1C0-EFEAA5F261FD}" dt="2025-12-16T05:51:33.741" v="0" actId="47"/>
        <pc:sldMkLst>
          <pc:docMk/>
          <pc:sldMk cId="3190678494" sldId="258"/>
        </pc:sldMkLst>
      </pc:sldChg>
      <pc:sldChg chg="del">
        <pc:chgData name="Nakao, Yuma" userId="0f29af7b-2b01-4e57-9e18-882e39fae61b" providerId="ADAL" clId="{2C6F8F09-DE54-4FC8-B1C0-EFEAA5F261FD}" dt="2025-12-16T05:51:33.741" v="0" actId="47"/>
        <pc:sldMkLst>
          <pc:docMk/>
          <pc:sldMk cId="2026613254" sldId="259"/>
        </pc:sldMkLst>
      </pc:sldChg>
      <pc:sldChg chg="addSp delSp modSp mod">
        <pc:chgData name="Nakao, Yuma" userId="0f29af7b-2b01-4e57-9e18-882e39fae61b" providerId="ADAL" clId="{2C6F8F09-DE54-4FC8-B1C0-EFEAA5F261FD}" dt="2025-12-16T08:05:02.202" v="1350" actId="12789"/>
        <pc:sldMkLst>
          <pc:docMk/>
          <pc:sldMk cId="2098259246" sldId="261"/>
        </pc:sldMkLst>
      </pc:sldChg>
      <pc:sldChg chg="del">
        <pc:chgData name="Nakao, Yuma" userId="0f29af7b-2b01-4e57-9e18-882e39fae61b" providerId="ADAL" clId="{2C6F8F09-DE54-4FC8-B1C0-EFEAA5F261FD}" dt="2025-12-16T05:51:33.741" v="0" actId="47"/>
        <pc:sldMkLst>
          <pc:docMk/>
          <pc:sldMk cId="4065578275" sldId="262"/>
        </pc:sldMkLst>
      </pc:sldChg>
      <pc:sldChg chg="del">
        <pc:chgData name="Nakao, Yuma" userId="0f29af7b-2b01-4e57-9e18-882e39fae61b" providerId="ADAL" clId="{2C6F8F09-DE54-4FC8-B1C0-EFEAA5F261FD}" dt="2025-12-16T05:51:33.741" v="0" actId="47"/>
        <pc:sldMkLst>
          <pc:docMk/>
          <pc:sldMk cId="2764989308" sldId="263"/>
        </pc:sldMkLst>
      </pc:sldChg>
      <pc:sldChg chg="del">
        <pc:chgData name="Nakao, Yuma" userId="0f29af7b-2b01-4e57-9e18-882e39fae61b" providerId="ADAL" clId="{2C6F8F09-DE54-4FC8-B1C0-EFEAA5F261FD}" dt="2025-12-16T05:51:33.741" v="0" actId="47"/>
        <pc:sldMkLst>
          <pc:docMk/>
          <pc:sldMk cId="3616119570" sldId="290"/>
        </pc:sldMkLst>
      </pc:sldChg>
      <pc:sldChg chg="del">
        <pc:chgData name="Nakao, Yuma" userId="0f29af7b-2b01-4e57-9e18-882e39fae61b" providerId="ADAL" clId="{2C6F8F09-DE54-4FC8-B1C0-EFEAA5F261FD}" dt="2025-12-16T05:51:33.741" v="0" actId="47"/>
        <pc:sldMkLst>
          <pc:docMk/>
          <pc:sldMk cId="158230822" sldId="291"/>
        </pc:sldMkLst>
      </pc:sldChg>
      <pc:sldChg chg="del">
        <pc:chgData name="Nakao, Yuma" userId="0f29af7b-2b01-4e57-9e18-882e39fae61b" providerId="ADAL" clId="{2C6F8F09-DE54-4FC8-B1C0-EFEAA5F261FD}" dt="2025-12-16T05:51:33.741" v="0" actId="47"/>
        <pc:sldMkLst>
          <pc:docMk/>
          <pc:sldMk cId="2568666332" sldId="292"/>
        </pc:sldMkLst>
      </pc:sldChg>
      <pc:sldChg chg="del">
        <pc:chgData name="Nakao, Yuma" userId="0f29af7b-2b01-4e57-9e18-882e39fae61b" providerId="ADAL" clId="{2C6F8F09-DE54-4FC8-B1C0-EFEAA5F261FD}" dt="2025-12-16T05:51:33.741" v="0" actId="47"/>
        <pc:sldMkLst>
          <pc:docMk/>
          <pc:sldMk cId="143491669" sldId="613"/>
        </pc:sldMkLst>
      </pc:sldChg>
      <pc:sldChg chg="del">
        <pc:chgData name="Nakao, Yuma" userId="0f29af7b-2b01-4e57-9e18-882e39fae61b" providerId="ADAL" clId="{2C6F8F09-DE54-4FC8-B1C0-EFEAA5F261FD}" dt="2025-12-16T05:51:33.741" v="0" actId="47"/>
        <pc:sldMkLst>
          <pc:docMk/>
          <pc:sldMk cId="3735984318" sldId="1982"/>
        </pc:sldMkLst>
      </pc:sldChg>
      <pc:sldChg chg="del">
        <pc:chgData name="Nakao, Yuma" userId="0f29af7b-2b01-4e57-9e18-882e39fae61b" providerId="ADAL" clId="{2C6F8F09-DE54-4FC8-B1C0-EFEAA5F261FD}" dt="2025-12-16T05:51:33.741" v="0" actId="47"/>
        <pc:sldMkLst>
          <pc:docMk/>
          <pc:sldMk cId="839491887" sldId="1983"/>
        </pc:sldMkLst>
      </pc:sldChg>
      <pc:sldChg chg="del">
        <pc:chgData name="Nakao, Yuma" userId="0f29af7b-2b01-4e57-9e18-882e39fae61b" providerId="ADAL" clId="{2C6F8F09-DE54-4FC8-B1C0-EFEAA5F261FD}" dt="2025-12-16T05:51:33.741" v="0" actId="47"/>
        <pc:sldMkLst>
          <pc:docMk/>
          <pc:sldMk cId="2345459683" sldId="1985"/>
        </pc:sldMkLst>
      </pc:sldChg>
      <pc:sldChg chg="addSp delSp mod">
        <pc:chgData name="Nakao, Yuma" userId="0f29af7b-2b01-4e57-9e18-882e39fae61b" providerId="ADAL" clId="{2C6F8F09-DE54-4FC8-B1C0-EFEAA5F261FD}" dt="2025-12-16T08:42:16.376" v="1627" actId="478"/>
        <pc:sldMkLst>
          <pc:docMk/>
          <pc:sldMk cId="1659794271" sldId="1986"/>
        </pc:sldMkLst>
      </pc:sldChg>
      <pc:sldChg chg="del">
        <pc:chgData name="Nakao, Yuma" userId="0f29af7b-2b01-4e57-9e18-882e39fae61b" providerId="ADAL" clId="{2C6F8F09-DE54-4FC8-B1C0-EFEAA5F261FD}" dt="2025-12-16T05:51:33.741" v="0" actId="47"/>
        <pc:sldMkLst>
          <pc:docMk/>
          <pc:sldMk cId="1216566794" sldId="1987"/>
        </pc:sldMkLst>
      </pc:sldChg>
      <pc:sldChg chg="del">
        <pc:chgData name="Nakao, Yuma" userId="0f29af7b-2b01-4e57-9e18-882e39fae61b" providerId="ADAL" clId="{2C6F8F09-DE54-4FC8-B1C0-EFEAA5F261FD}" dt="2025-12-16T05:51:33.741" v="0" actId="47"/>
        <pc:sldMkLst>
          <pc:docMk/>
          <pc:sldMk cId="1876784011" sldId="1991"/>
        </pc:sldMkLst>
      </pc:sldChg>
      <pc:sldChg chg="del">
        <pc:chgData name="Nakao, Yuma" userId="0f29af7b-2b01-4e57-9e18-882e39fae61b" providerId="ADAL" clId="{2C6F8F09-DE54-4FC8-B1C0-EFEAA5F261FD}" dt="2025-12-16T05:51:33.741" v="0" actId="47"/>
        <pc:sldMkLst>
          <pc:docMk/>
          <pc:sldMk cId="3548526316" sldId="1992"/>
        </pc:sldMkLst>
      </pc:sldChg>
      <pc:sldChg chg="del">
        <pc:chgData name="Nakao, Yuma" userId="0f29af7b-2b01-4e57-9e18-882e39fae61b" providerId="ADAL" clId="{2C6F8F09-DE54-4FC8-B1C0-EFEAA5F261FD}" dt="2025-12-16T05:51:33.741" v="0" actId="47"/>
        <pc:sldMkLst>
          <pc:docMk/>
          <pc:sldMk cId="3418364611" sldId="1993"/>
        </pc:sldMkLst>
      </pc:sldChg>
      <pc:sldChg chg="del">
        <pc:chgData name="Nakao, Yuma" userId="0f29af7b-2b01-4e57-9e18-882e39fae61b" providerId="ADAL" clId="{2C6F8F09-DE54-4FC8-B1C0-EFEAA5F261FD}" dt="2025-12-16T05:51:33.741" v="0" actId="47"/>
        <pc:sldMkLst>
          <pc:docMk/>
          <pc:sldMk cId="788438894" sldId="1994"/>
        </pc:sldMkLst>
      </pc:sldChg>
      <pc:sldChg chg="del">
        <pc:chgData name="Nakao, Yuma" userId="0f29af7b-2b01-4e57-9e18-882e39fae61b" providerId="ADAL" clId="{2C6F8F09-DE54-4FC8-B1C0-EFEAA5F261FD}" dt="2025-12-16T05:51:33.741" v="0" actId="47"/>
        <pc:sldMkLst>
          <pc:docMk/>
          <pc:sldMk cId="3885940307" sldId="1995"/>
        </pc:sldMkLst>
      </pc:sldChg>
      <pc:sldChg chg="del">
        <pc:chgData name="Nakao, Yuma" userId="0f29af7b-2b01-4e57-9e18-882e39fae61b" providerId="ADAL" clId="{2C6F8F09-DE54-4FC8-B1C0-EFEAA5F261FD}" dt="2025-12-16T05:51:33.741" v="0" actId="47"/>
        <pc:sldMkLst>
          <pc:docMk/>
          <pc:sldMk cId="3144631075" sldId="1996"/>
        </pc:sldMkLst>
      </pc:sldChg>
      <pc:sldChg chg="del">
        <pc:chgData name="Nakao, Yuma" userId="0f29af7b-2b01-4e57-9e18-882e39fae61b" providerId="ADAL" clId="{2C6F8F09-DE54-4FC8-B1C0-EFEAA5F261FD}" dt="2025-12-16T05:51:33.741" v="0" actId="47"/>
        <pc:sldMkLst>
          <pc:docMk/>
          <pc:sldMk cId="383462982" sldId="1997"/>
        </pc:sldMkLst>
      </pc:sldChg>
      <pc:sldChg chg="del">
        <pc:chgData name="Nakao, Yuma" userId="0f29af7b-2b01-4e57-9e18-882e39fae61b" providerId="ADAL" clId="{2C6F8F09-DE54-4FC8-B1C0-EFEAA5F261FD}" dt="2025-12-16T05:51:33.741" v="0" actId="47"/>
        <pc:sldMkLst>
          <pc:docMk/>
          <pc:sldMk cId="1069927857" sldId="1998"/>
        </pc:sldMkLst>
      </pc:sldChg>
      <pc:sldChg chg="del">
        <pc:chgData name="Nakao, Yuma" userId="0f29af7b-2b01-4e57-9e18-882e39fae61b" providerId="ADAL" clId="{2C6F8F09-DE54-4FC8-B1C0-EFEAA5F261FD}" dt="2025-12-16T05:51:33.741" v="0" actId="47"/>
        <pc:sldMkLst>
          <pc:docMk/>
          <pc:sldMk cId="3099822592" sldId="1999"/>
        </pc:sldMkLst>
      </pc:sldChg>
      <pc:sldChg chg="del">
        <pc:chgData name="Nakao, Yuma" userId="0f29af7b-2b01-4e57-9e18-882e39fae61b" providerId="ADAL" clId="{2C6F8F09-DE54-4FC8-B1C0-EFEAA5F261FD}" dt="2025-12-16T05:51:33.741" v="0" actId="47"/>
        <pc:sldMkLst>
          <pc:docMk/>
          <pc:sldMk cId="2772374088" sldId="2000"/>
        </pc:sldMkLst>
      </pc:sldChg>
      <pc:sldChg chg="del">
        <pc:chgData name="Nakao, Yuma" userId="0f29af7b-2b01-4e57-9e18-882e39fae61b" providerId="ADAL" clId="{2C6F8F09-DE54-4FC8-B1C0-EFEAA5F261FD}" dt="2025-12-16T05:51:33.741" v="0" actId="47"/>
        <pc:sldMkLst>
          <pc:docMk/>
          <pc:sldMk cId="3560644064" sldId="2001"/>
        </pc:sldMkLst>
      </pc:sldChg>
      <pc:sldChg chg="del">
        <pc:chgData name="Nakao, Yuma" userId="0f29af7b-2b01-4e57-9e18-882e39fae61b" providerId="ADAL" clId="{2C6F8F09-DE54-4FC8-B1C0-EFEAA5F261FD}" dt="2025-12-16T05:51:33.741" v="0" actId="47"/>
        <pc:sldMkLst>
          <pc:docMk/>
          <pc:sldMk cId="839265047" sldId="2002"/>
        </pc:sldMkLst>
      </pc:sldChg>
      <pc:sldChg chg="del">
        <pc:chgData name="Nakao, Yuma" userId="0f29af7b-2b01-4e57-9e18-882e39fae61b" providerId="ADAL" clId="{2C6F8F09-DE54-4FC8-B1C0-EFEAA5F261FD}" dt="2025-12-16T05:51:33.741" v="0" actId="47"/>
        <pc:sldMkLst>
          <pc:docMk/>
          <pc:sldMk cId="4187142756" sldId="2003"/>
        </pc:sldMkLst>
      </pc:sldChg>
      <pc:sldChg chg="addSp delSp modSp del mod">
        <pc:chgData name="Nakao, Yuma" userId="0f29af7b-2b01-4e57-9e18-882e39fae61b" providerId="ADAL" clId="{2C6F8F09-DE54-4FC8-B1C0-EFEAA5F261FD}" dt="2025-12-16T07:04:30.918" v="1052" actId="47"/>
        <pc:sldMkLst>
          <pc:docMk/>
          <pc:sldMk cId="3683929251" sldId="2004"/>
        </pc:sldMkLst>
      </pc:sldChg>
      <pc:sldChg chg="del">
        <pc:chgData name="Nakao, Yuma" userId="0f29af7b-2b01-4e57-9e18-882e39fae61b" providerId="ADAL" clId="{2C6F8F09-DE54-4FC8-B1C0-EFEAA5F261FD}" dt="2025-12-16T05:51:33.741" v="0" actId="47"/>
        <pc:sldMkLst>
          <pc:docMk/>
          <pc:sldMk cId="2462494097" sldId="2005"/>
        </pc:sldMkLst>
      </pc:sldChg>
      <pc:sldChg chg="addSp delSp modSp mod">
        <pc:chgData name="Nakao, Yuma" userId="0f29af7b-2b01-4e57-9e18-882e39fae61b" providerId="ADAL" clId="{2C6F8F09-DE54-4FC8-B1C0-EFEAA5F261FD}" dt="2025-12-16T08:16:37.139" v="1601" actId="478"/>
        <pc:sldMkLst>
          <pc:docMk/>
          <pc:sldMk cId="350403166" sldId="2006"/>
        </pc:sldMkLst>
      </pc:sldChg>
      <pc:sldChg chg="del">
        <pc:chgData name="Nakao, Yuma" userId="0f29af7b-2b01-4e57-9e18-882e39fae61b" providerId="ADAL" clId="{2C6F8F09-DE54-4FC8-B1C0-EFEAA5F261FD}" dt="2025-12-16T05:51:33.741" v="0" actId="47"/>
        <pc:sldMkLst>
          <pc:docMk/>
          <pc:sldMk cId="1335503335" sldId="2007"/>
        </pc:sldMkLst>
      </pc:sldChg>
      <pc:sldChg chg="del">
        <pc:chgData name="Nakao, Yuma" userId="0f29af7b-2b01-4e57-9e18-882e39fae61b" providerId="ADAL" clId="{2C6F8F09-DE54-4FC8-B1C0-EFEAA5F261FD}" dt="2025-12-16T05:51:33.741" v="0" actId="47"/>
        <pc:sldMkLst>
          <pc:docMk/>
          <pc:sldMk cId="3641080343" sldId="2008"/>
        </pc:sldMkLst>
      </pc:sldChg>
      <pc:sldChg chg="del">
        <pc:chgData name="Nakao, Yuma" userId="0f29af7b-2b01-4e57-9e18-882e39fae61b" providerId="ADAL" clId="{2C6F8F09-DE54-4FC8-B1C0-EFEAA5F261FD}" dt="2025-12-16T05:51:33.741" v="0" actId="47"/>
        <pc:sldMkLst>
          <pc:docMk/>
          <pc:sldMk cId="1412530901" sldId="2009"/>
        </pc:sldMkLst>
      </pc:sldChg>
      <pc:sldChg chg="del">
        <pc:chgData name="Nakao, Yuma" userId="0f29af7b-2b01-4e57-9e18-882e39fae61b" providerId="ADAL" clId="{2C6F8F09-DE54-4FC8-B1C0-EFEAA5F261FD}" dt="2025-12-16T05:51:33.741" v="0" actId="47"/>
        <pc:sldMkLst>
          <pc:docMk/>
          <pc:sldMk cId="2827417614" sldId="2010"/>
        </pc:sldMkLst>
      </pc:sldChg>
      <pc:sldChg chg="del">
        <pc:chgData name="Nakao, Yuma" userId="0f29af7b-2b01-4e57-9e18-882e39fae61b" providerId="ADAL" clId="{2C6F8F09-DE54-4FC8-B1C0-EFEAA5F261FD}" dt="2025-12-16T05:51:33.741" v="0" actId="47"/>
        <pc:sldMkLst>
          <pc:docMk/>
          <pc:sldMk cId="2722326156" sldId="2011"/>
        </pc:sldMkLst>
      </pc:sldChg>
      <pc:sldChg chg="del">
        <pc:chgData name="Nakao, Yuma" userId="0f29af7b-2b01-4e57-9e18-882e39fae61b" providerId="ADAL" clId="{2C6F8F09-DE54-4FC8-B1C0-EFEAA5F261FD}" dt="2025-12-16T05:51:33.741" v="0" actId="47"/>
        <pc:sldMkLst>
          <pc:docMk/>
          <pc:sldMk cId="1950980613" sldId="2012"/>
        </pc:sldMkLst>
      </pc:sldChg>
      <pc:sldChg chg="del">
        <pc:chgData name="Nakao, Yuma" userId="0f29af7b-2b01-4e57-9e18-882e39fae61b" providerId="ADAL" clId="{2C6F8F09-DE54-4FC8-B1C0-EFEAA5F261FD}" dt="2025-12-16T05:51:33.741" v="0" actId="47"/>
        <pc:sldMkLst>
          <pc:docMk/>
          <pc:sldMk cId="3039912854" sldId="2013"/>
        </pc:sldMkLst>
      </pc:sldChg>
      <pc:sldChg chg="del">
        <pc:chgData name="Nakao, Yuma" userId="0f29af7b-2b01-4e57-9e18-882e39fae61b" providerId="ADAL" clId="{2C6F8F09-DE54-4FC8-B1C0-EFEAA5F261FD}" dt="2025-12-16T05:51:33.741" v="0" actId="47"/>
        <pc:sldMkLst>
          <pc:docMk/>
          <pc:sldMk cId="2282862479" sldId="2014"/>
        </pc:sldMkLst>
      </pc:sldChg>
      <pc:sldChg chg="del">
        <pc:chgData name="Nakao, Yuma" userId="0f29af7b-2b01-4e57-9e18-882e39fae61b" providerId="ADAL" clId="{2C6F8F09-DE54-4FC8-B1C0-EFEAA5F261FD}" dt="2025-12-16T05:51:33.741" v="0" actId="47"/>
        <pc:sldMkLst>
          <pc:docMk/>
          <pc:sldMk cId="2231085053" sldId="2016"/>
        </pc:sldMkLst>
      </pc:sldChg>
      <pc:sldChg chg="del">
        <pc:chgData name="Nakao, Yuma" userId="0f29af7b-2b01-4e57-9e18-882e39fae61b" providerId="ADAL" clId="{2C6F8F09-DE54-4FC8-B1C0-EFEAA5F261FD}" dt="2025-12-16T05:51:33.741" v="0" actId="47"/>
        <pc:sldMkLst>
          <pc:docMk/>
          <pc:sldMk cId="4023315870" sldId="2017"/>
        </pc:sldMkLst>
      </pc:sldChg>
      <pc:sldChg chg="del">
        <pc:chgData name="Nakao, Yuma" userId="0f29af7b-2b01-4e57-9e18-882e39fae61b" providerId="ADAL" clId="{2C6F8F09-DE54-4FC8-B1C0-EFEAA5F261FD}" dt="2025-12-16T05:51:33.741" v="0" actId="47"/>
        <pc:sldMkLst>
          <pc:docMk/>
          <pc:sldMk cId="1425667345" sldId="2018"/>
        </pc:sldMkLst>
      </pc:sldChg>
      <pc:sldChg chg="del">
        <pc:chgData name="Nakao, Yuma" userId="0f29af7b-2b01-4e57-9e18-882e39fae61b" providerId="ADAL" clId="{2C6F8F09-DE54-4FC8-B1C0-EFEAA5F261FD}" dt="2025-12-16T05:51:33.741" v="0" actId="47"/>
        <pc:sldMkLst>
          <pc:docMk/>
          <pc:sldMk cId="3089995797" sldId="2019"/>
        </pc:sldMkLst>
      </pc:sldChg>
      <pc:sldChg chg="del">
        <pc:chgData name="Nakao, Yuma" userId="0f29af7b-2b01-4e57-9e18-882e39fae61b" providerId="ADAL" clId="{2C6F8F09-DE54-4FC8-B1C0-EFEAA5F261FD}" dt="2025-12-16T05:51:33.741" v="0" actId="47"/>
        <pc:sldMkLst>
          <pc:docMk/>
          <pc:sldMk cId="813682232" sldId="2020"/>
        </pc:sldMkLst>
      </pc:sldChg>
      <pc:sldChg chg="del">
        <pc:chgData name="Nakao, Yuma" userId="0f29af7b-2b01-4e57-9e18-882e39fae61b" providerId="ADAL" clId="{2C6F8F09-DE54-4FC8-B1C0-EFEAA5F261FD}" dt="2025-12-16T05:51:33.741" v="0" actId="47"/>
        <pc:sldMkLst>
          <pc:docMk/>
          <pc:sldMk cId="1737965413" sldId="2021"/>
        </pc:sldMkLst>
      </pc:sldChg>
      <pc:sldChg chg="del">
        <pc:chgData name="Nakao, Yuma" userId="0f29af7b-2b01-4e57-9e18-882e39fae61b" providerId="ADAL" clId="{2C6F8F09-DE54-4FC8-B1C0-EFEAA5F261FD}" dt="2025-12-16T05:51:33.741" v="0" actId="47"/>
        <pc:sldMkLst>
          <pc:docMk/>
          <pc:sldMk cId="3664602161" sldId="2022"/>
        </pc:sldMkLst>
      </pc:sldChg>
      <pc:sldChg chg="del">
        <pc:chgData name="Nakao, Yuma" userId="0f29af7b-2b01-4e57-9e18-882e39fae61b" providerId="ADAL" clId="{2C6F8F09-DE54-4FC8-B1C0-EFEAA5F261FD}" dt="2025-12-16T05:51:33.741" v="0" actId="47"/>
        <pc:sldMkLst>
          <pc:docMk/>
          <pc:sldMk cId="909232425" sldId="2023"/>
        </pc:sldMkLst>
      </pc:sldChg>
      <pc:sldChg chg="del ord">
        <pc:chgData name="Nakao, Yuma" userId="0f29af7b-2b01-4e57-9e18-882e39fae61b" providerId="ADAL" clId="{2C6F8F09-DE54-4FC8-B1C0-EFEAA5F261FD}" dt="2025-12-16T06:06:57.221" v="256" actId="2696"/>
        <pc:sldMkLst>
          <pc:docMk/>
          <pc:sldMk cId="3077596762" sldId="2024"/>
        </pc:sldMkLst>
      </pc:sldChg>
      <pc:sldChg chg="del">
        <pc:chgData name="Nakao, Yuma" userId="0f29af7b-2b01-4e57-9e18-882e39fae61b" providerId="ADAL" clId="{2C6F8F09-DE54-4FC8-B1C0-EFEAA5F261FD}" dt="2025-12-16T05:51:33.741" v="0" actId="47"/>
        <pc:sldMkLst>
          <pc:docMk/>
          <pc:sldMk cId="2749668038" sldId="2025"/>
        </pc:sldMkLst>
      </pc:sldChg>
      <pc:sldChg chg="addSp delSp modSp add mod ord">
        <pc:chgData name="Nakao, Yuma" userId="0f29af7b-2b01-4e57-9e18-882e39fae61b" providerId="ADAL" clId="{2C6F8F09-DE54-4FC8-B1C0-EFEAA5F261FD}" dt="2025-12-16T08:42:17.170" v="1628" actId="555"/>
        <pc:sldMkLst>
          <pc:docMk/>
          <pc:sldMk cId="826555675" sldId="2027"/>
        </pc:sldMkLst>
      </pc:sldChg>
      <pc:sldChg chg="addSp delSp modSp add mod ord modShow">
        <pc:chgData name="Nakao, Yuma" userId="0f29af7b-2b01-4e57-9e18-882e39fae61b" providerId="ADAL" clId="{2C6F8F09-DE54-4FC8-B1C0-EFEAA5F261FD}" dt="2025-12-16T08:08:18.911" v="1446" actId="478"/>
        <pc:sldMkLst>
          <pc:docMk/>
          <pc:sldMk cId="3617648504" sldId="2028"/>
        </pc:sldMkLst>
      </pc:sldChg>
      <pc:sldChg chg="addSp delSp modSp add del mod">
        <pc:chgData name="Nakao, Yuma" userId="0f29af7b-2b01-4e57-9e18-882e39fae61b" providerId="ADAL" clId="{2C6F8F09-DE54-4FC8-B1C0-EFEAA5F261FD}" dt="2025-12-16T08:42:16.376" v="1626" actId="1076"/>
        <pc:sldMkLst>
          <pc:docMk/>
          <pc:sldMk cId="2881991226" sldId="2029"/>
        </pc:sldMkLst>
      </pc:sldChg>
      <pc:sldMasterChg chg="delSldLayout">
        <pc:chgData name="Nakao, Yuma" userId="0f29af7b-2b01-4e57-9e18-882e39fae61b" providerId="ADAL" clId="{2C6F8F09-DE54-4FC8-B1C0-EFEAA5F261FD}" dt="2025-12-16T05:51:33.741" v="0" actId="47"/>
        <pc:sldMasterMkLst>
          <pc:docMk/>
          <pc:sldMasterMk cId="3640667945" sldId="2147484164"/>
        </pc:sldMasterMkLst>
        <pc:sldLayoutChg chg="del">
          <pc:chgData name="Nakao, Yuma" userId="0f29af7b-2b01-4e57-9e18-882e39fae61b" providerId="ADAL" clId="{2C6F8F09-DE54-4FC8-B1C0-EFEAA5F261FD}" dt="2025-12-16T05:51:33.741" v="0" actId="47"/>
          <pc:sldLayoutMkLst>
            <pc:docMk/>
            <pc:sldMasterMk cId="3640667945" sldId="2147484164"/>
            <pc:sldLayoutMk cId="1199149153" sldId="2147484181"/>
          </pc:sldLayoutMkLst>
        </pc:sldLayoutChg>
        <pc:sldLayoutChg chg="del">
          <pc:chgData name="Nakao, Yuma" userId="0f29af7b-2b01-4e57-9e18-882e39fae61b" providerId="ADAL" clId="{2C6F8F09-DE54-4FC8-B1C0-EFEAA5F261FD}" dt="2025-12-16T05:51:33.741" v="0" actId="47"/>
          <pc:sldLayoutMkLst>
            <pc:docMk/>
            <pc:sldMasterMk cId="3640667945" sldId="2147484164"/>
            <pc:sldLayoutMk cId="2373878955" sldId="2147484182"/>
          </pc:sldLayoutMkLst>
        </pc:sldLayoutChg>
      </pc:sldMasterChg>
    </pc:docChg>
  </pc:docChgLst>
  <pc:docChgLst>
    <pc:chgData name="Hashi, Shota" userId="8379f7e9-b024-438c-a61e-ac1eb77e539d" providerId="ADAL" clId="{1471C0DA-D86D-4BED-B217-FF8AA0BB9E26}"/>
    <pc:docChg chg="modSld">
      <pc:chgData name="Hashi, Shota" userId="8379f7e9-b024-438c-a61e-ac1eb77e539d" providerId="ADAL" clId="{1471C0DA-D86D-4BED-B217-FF8AA0BB9E26}" dt="2026-02-19T09:38:59.698" v="15" actId="20577"/>
      <pc:docMkLst>
        <pc:docMk/>
      </pc:docMkLst>
      <pc:sldChg chg="modSp mod">
        <pc:chgData name="Hashi, Shota" userId="8379f7e9-b024-438c-a61e-ac1eb77e539d" providerId="ADAL" clId="{1471C0DA-D86D-4BED-B217-FF8AA0BB9E26}" dt="2026-02-19T09:38:59.698" v="15" actId="20577"/>
        <pc:sldMkLst>
          <pc:docMk/>
          <pc:sldMk cId="2799762407" sldId="2034"/>
        </pc:sldMkLst>
        <pc:spChg chg="mod">
          <ac:chgData name="Hashi, Shota" userId="8379f7e9-b024-438c-a61e-ac1eb77e539d" providerId="ADAL" clId="{1471C0DA-D86D-4BED-B217-FF8AA0BB9E26}" dt="2026-02-19T09:38:59.698" v="15" actId="20577"/>
          <ac:spMkLst>
            <pc:docMk/>
            <pc:sldMk cId="2799762407" sldId="2034"/>
            <ac:spMk id="21" creationId="{74459ACB-8440-A935-AFEF-A6E051ACE57A}"/>
          </ac:spMkLst>
        </pc:spChg>
      </pc:sldChg>
      <pc:sldChg chg="modSp mod">
        <pc:chgData name="Hashi, Shota" userId="8379f7e9-b024-438c-a61e-ac1eb77e539d" providerId="ADAL" clId="{1471C0DA-D86D-4BED-B217-FF8AA0BB9E26}" dt="2026-02-19T09:38:48.114" v="7" actId="20577"/>
        <pc:sldMkLst>
          <pc:docMk/>
          <pc:sldMk cId="1942732370" sldId="2035"/>
        </pc:sldMkLst>
        <pc:spChg chg="mod">
          <ac:chgData name="Hashi, Shota" userId="8379f7e9-b024-438c-a61e-ac1eb77e539d" providerId="ADAL" clId="{1471C0DA-D86D-4BED-B217-FF8AA0BB9E26}" dt="2026-02-19T09:38:48.114" v="7" actId="20577"/>
          <ac:spMkLst>
            <pc:docMk/>
            <pc:sldMk cId="1942732370" sldId="2035"/>
            <ac:spMk id="32" creationId="{EFFFF08E-72D1-C8A9-1A8F-FA8EF2D3DCE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2" y="1"/>
            <a:ext cx="2919413" cy="495300"/>
          </a:xfrm>
          <a:prstGeom prst="rect">
            <a:avLst/>
          </a:prstGeom>
        </p:spPr>
        <p:txBody>
          <a:bodyPr vert="horz" lIns="91368" tIns="45684" rIns="91368" bIns="45684"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4" y="1"/>
            <a:ext cx="2919412" cy="495300"/>
          </a:xfrm>
          <a:prstGeom prst="rect">
            <a:avLst/>
          </a:prstGeom>
        </p:spPr>
        <p:txBody>
          <a:bodyPr vert="horz" lIns="91368" tIns="45684" rIns="91368" bIns="45684" rtlCol="0"/>
          <a:lstStyle>
            <a:lvl1pPr algn="r">
              <a:defRPr sz="1200"/>
            </a:lvl1pPr>
          </a:lstStyle>
          <a:p>
            <a:fld id="{8A4FAE83-6876-449D-BCCE-496EC707688A}" type="datetimeFigureOut">
              <a:rPr kumimoji="1" lang="ja-JP" altLang="en-US" smtClean="0"/>
              <a:t>2026/2/27</a:t>
            </a:fld>
            <a:endParaRPr kumimoji="1" lang="ja-JP" altLang="en-US"/>
          </a:p>
        </p:txBody>
      </p:sp>
      <p:sp>
        <p:nvSpPr>
          <p:cNvPr id="4" name="フッター プレースホルダー 3"/>
          <p:cNvSpPr>
            <a:spLocks noGrp="1"/>
          </p:cNvSpPr>
          <p:nvPr>
            <p:ph type="ftr" sz="quarter" idx="2"/>
          </p:nvPr>
        </p:nvSpPr>
        <p:spPr>
          <a:xfrm>
            <a:off x="12" y="9371024"/>
            <a:ext cx="2919413" cy="495300"/>
          </a:xfrm>
          <a:prstGeom prst="rect">
            <a:avLst/>
          </a:prstGeom>
        </p:spPr>
        <p:txBody>
          <a:bodyPr vert="horz" lIns="91368" tIns="45684" rIns="91368" bIns="45684"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4" y="9371024"/>
            <a:ext cx="2919412" cy="495300"/>
          </a:xfrm>
          <a:prstGeom prst="rect">
            <a:avLst/>
          </a:prstGeom>
        </p:spPr>
        <p:txBody>
          <a:bodyPr vert="horz" lIns="91368" tIns="45684" rIns="91368" bIns="45684" rtlCol="0" anchor="b"/>
          <a:lstStyle>
            <a:lvl1pPr algn="r">
              <a:defRPr sz="1200"/>
            </a:lvl1pPr>
          </a:lstStyle>
          <a:p>
            <a:fld id="{68D39ECE-9559-4BF9-A72E-0A6C08851105}" type="slidenum">
              <a:rPr kumimoji="1" lang="ja-JP" altLang="en-US" smtClean="0"/>
              <a:t>‹#›</a:t>
            </a:fld>
            <a:endParaRPr kumimoji="1" lang="ja-JP" altLang="en-US"/>
          </a:p>
        </p:txBody>
      </p:sp>
    </p:spTree>
    <p:extLst>
      <p:ext uri="{BB962C8B-B14F-4D97-AF65-F5344CB8AC3E}">
        <p14:creationId xmlns:p14="http://schemas.microsoft.com/office/powerpoint/2010/main" val="3343085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2" y="1"/>
            <a:ext cx="2919413" cy="495300"/>
          </a:xfrm>
          <a:prstGeom prst="rect">
            <a:avLst/>
          </a:prstGeom>
        </p:spPr>
        <p:txBody>
          <a:bodyPr vert="horz" lIns="91368" tIns="45684" rIns="91368" bIns="4568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4" y="1"/>
            <a:ext cx="2919412" cy="495300"/>
          </a:xfrm>
          <a:prstGeom prst="rect">
            <a:avLst/>
          </a:prstGeom>
        </p:spPr>
        <p:txBody>
          <a:bodyPr vert="horz" lIns="91368" tIns="45684" rIns="91368" bIns="45684" rtlCol="0"/>
          <a:lstStyle>
            <a:lvl1pPr algn="r">
              <a:defRPr sz="1200"/>
            </a:lvl1pPr>
          </a:lstStyle>
          <a:p>
            <a:fld id="{0AC30D34-39EC-4333-89A4-48E429B38CE2}" type="datetimeFigureOut">
              <a:rPr kumimoji="1" lang="ja-JP" altLang="en-US" smtClean="0"/>
              <a:t>2026/2/27</a:t>
            </a:fld>
            <a:endParaRPr kumimoji="1" lang="ja-JP" altLang="en-US"/>
          </a:p>
        </p:txBody>
      </p:sp>
      <p:sp>
        <p:nvSpPr>
          <p:cNvPr id="4" name="スライド イメージ プレースホルダー 3"/>
          <p:cNvSpPr>
            <a:spLocks noGrp="1" noRot="1" noChangeAspect="1"/>
          </p:cNvSpPr>
          <p:nvPr>
            <p:ph type="sldImg" idx="2"/>
          </p:nvPr>
        </p:nvSpPr>
        <p:spPr>
          <a:xfrm>
            <a:off x="1147763" y="1231900"/>
            <a:ext cx="4440237" cy="3330575"/>
          </a:xfrm>
          <a:prstGeom prst="rect">
            <a:avLst/>
          </a:prstGeom>
          <a:noFill/>
          <a:ln w="12700">
            <a:solidFill>
              <a:prstClr val="black"/>
            </a:solidFill>
          </a:ln>
        </p:spPr>
        <p:txBody>
          <a:bodyPr vert="horz" lIns="91368" tIns="45684" rIns="91368" bIns="45684" rtlCol="0" anchor="ctr"/>
          <a:lstStyle/>
          <a:p>
            <a:endParaRPr lang="ja-JP" altLang="en-US"/>
          </a:p>
        </p:txBody>
      </p:sp>
      <p:sp>
        <p:nvSpPr>
          <p:cNvPr id="5" name="ノート プレースホルダー 4"/>
          <p:cNvSpPr>
            <a:spLocks noGrp="1"/>
          </p:cNvSpPr>
          <p:nvPr>
            <p:ph type="body" sz="quarter" idx="3"/>
          </p:nvPr>
        </p:nvSpPr>
        <p:spPr>
          <a:xfrm>
            <a:off x="673111" y="4748213"/>
            <a:ext cx="5389563" cy="3884612"/>
          </a:xfrm>
          <a:prstGeom prst="rect">
            <a:avLst/>
          </a:prstGeom>
        </p:spPr>
        <p:txBody>
          <a:bodyPr vert="horz" lIns="91368" tIns="45684" rIns="91368" bIns="4568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2" y="9371024"/>
            <a:ext cx="2919413" cy="495300"/>
          </a:xfrm>
          <a:prstGeom prst="rect">
            <a:avLst/>
          </a:prstGeom>
        </p:spPr>
        <p:txBody>
          <a:bodyPr vert="horz" lIns="91368" tIns="45684" rIns="91368" bIns="4568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4" y="9371024"/>
            <a:ext cx="2919412" cy="495300"/>
          </a:xfrm>
          <a:prstGeom prst="rect">
            <a:avLst/>
          </a:prstGeom>
        </p:spPr>
        <p:txBody>
          <a:bodyPr vert="horz" lIns="91368" tIns="45684" rIns="91368" bIns="45684" rtlCol="0" anchor="b"/>
          <a:lstStyle>
            <a:lvl1pPr algn="r">
              <a:defRPr sz="1200"/>
            </a:lvl1pPr>
          </a:lstStyle>
          <a:p>
            <a:fld id="{21C75C97-5DEC-465A-942A-ECFBEE6DB4E1}" type="slidenum">
              <a:rPr kumimoji="1" lang="ja-JP" altLang="en-US" smtClean="0"/>
              <a:t>‹#›</a:t>
            </a:fld>
            <a:endParaRPr kumimoji="1" lang="ja-JP" altLang="en-US"/>
          </a:p>
        </p:txBody>
      </p:sp>
    </p:spTree>
    <p:extLst>
      <p:ext uri="{BB962C8B-B14F-4D97-AF65-F5344CB8AC3E}">
        <p14:creationId xmlns:p14="http://schemas.microsoft.com/office/powerpoint/2010/main" val="185197434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1C75C97-5DEC-465A-942A-ECFBEE6DB4E1}" type="slidenum">
              <a:rPr kumimoji="1" lang="ja-JP" altLang="en-US" smtClean="0"/>
              <a:t>4</a:t>
            </a:fld>
            <a:endParaRPr kumimoji="1" lang="ja-JP" altLang="en-US"/>
          </a:p>
        </p:txBody>
      </p:sp>
    </p:spTree>
    <p:extLst>
      <p:ext uri="{BB962C8B-B14F-4D97-AF65-F5344CB8AC3E}">
        <p14:creationId xmlns:p14="http://schemas.microsoft.com/office/powerpoint/2010/main" val="198912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1C75C97-5DEC-465A-942A-ECFBEE6DB4E1}" type="slidenum">
              <a:rPr kumimoji="1" lang="ja-JP" altLang="en-US" smtClean="0"/>
              <a:t>9</a:t>
            </a:fld>
            <a:endParaRPr kumimoji="1" lang="ja-JP" altLang="en-US"/>
          </a:p>
        </p:txBody>
      </p:sp>
    </p:spTree>
    <p:extLst>
      <p:ext uri="{BB962C8B-B14F-4D97-AF65-F5344CB8AC3E}">
        <p14:creationId xmlns:p14="http://schemas.microsoft.com/office/powerpoint/2010/main" val="28853637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1039" name="Rectangle 9"/>
          <p:cNvSpPr>
            <a:spLocks noChangeArrowheads="1"/>
          </p:cNvSpPr>
          <p:nvPr userDrawn="1"/>
        </p:nvSpPr>
        <p:spPr>
          <a:xfrm>
            <a:off x="1692282" y="3284556"/>
            <a:ext cx="7451725" cy="73025"/>
          </a:xfrm>
          <a:prstGeom prst="rect">
            <a:avLst/>
          </a:prstGeom>
          <a:solidFill>
            <a:srgbClr val="0066CC"/>
          </a:solidFill>
          <a:ln w="9525">
            <a:noFill/>
            <a:miter lim="800000"/>
            <a:headEnd/>
            <a:tailEnd/>
          </a:ln>
          <a:effectLst/>
        </p:spPr>
        <p:txBody>
          <a:bodyPr wrap="none" anchor="ctr"/>
          <a:lstStyle/>
          <a:p>
            <a:pPr>
              <a:defRPr/>
            </a:pPr>
            <a:endParaRPr lang="ja-JP" altLang="en-US" sz="1443">
              <a:solidFill>
                <a:srgbClr val="000000"/>
              </a:solidFill>
            </a:endParaRPr>
          </a:p>
        </p:txBody>
      </p:sp>
      <p:sp>
        <p:nvSpPr>
          <p:cNvPr id="1041" name="Text Box 12"/>
          <p:cNvSpPr txBox="1">
            <a:spLocks noChangeArrowheads="1"/>
          </p:cNvSpPr>
          <p:nvPr userDrawn="1"/>
        </p:nvSpPr>
        <p:spPr>
          <a:xfrm>
            <a:off x="2" y="6524638"/>
            <a:ext cx="2961067" cy="240387"/>
          </a:xfrm>
          <a:prstGeom prst="rect">
            <a:avLst/>
          </a:prstGeom>
          <a:noFill/>
          <a:ln w="9525">
            <a:noFill/>
            <a:miter lim="800000"/>
            <a:headEnd/>
            <a:tailEnd/>
          </a:ln>
          <a:effectLst/>
        </p:spPr>
        <p:txBody>
          <a:bodyPr wrap="none">
            <a:spAutoFit/>
          </a:bodyPr>
          <a:lstStyle/>
          <a:p>
            <a:pPr>
              <a:defRPr/>
            </a:pPr>
            <a:r>
              <a:rPr lang="en-US" altLang="ja-JP" sz="962" i="1">
                <a:solidFill>
                  <a:srgbClr val="FFFFFF"/>
                </a:solidFill>
                <a:latin typeface="Times New Roman" pitchFamily="18" charset="0"/>
              </a:rPr>
              <a:t>Ministry of Land, Infrastructure, Transport and Tourism</a:t>
            </a:r>
          </a:p>
        </p:txBody>
      </p:sp>
      <p:sp>
        <p:nvSpPr>
          <p:cNvPr id="1042" name="Rectangle 2"/>
          <p:cNvSpPr>
            <a:spLocks noGrp="1" noChangeArrowheads="1"/>
          </p:cNvSpPr>
          <p:nvPr>
            <p:ph type="ctrTitle"/>
          </p:nvPr>
        </p:nvSpPr>
        <p:spPr>
          <a:xfrm>
            <a:off x="1619250" y="2133618"/>
            <a:ext cx="7524750" cy="1470025"/>
          </a:xfrm>
        </p:spPr>
        <p:txBody>
          <a:bodyPr/>
          <a:lstStyle>
            <a:lvl1pPr>
              <a:defRPr sz="3207"/>
            </a:lvl1pPr>
          </a:lstStyle>
          <a:p>
            <a:r>
              <a:rPr lang="ja-JP" altLang="en-US"/>
              <a:t>マスタ タイトルの書式設定</a:t>
            </a:r>
          </a:p>
        </p:txBody>
      </p:sp>
      <p:sp>
        <p:nvSpPr>
          <p:cNvPr id="1043" name="Rectangle 3"/>
          <p:cNvSpPr>
            <a:spLocks noGrp="1" noChangeArrowheads="1"/>
          </p:cNvSpPr>
          <p:nvPr>
            <p:ph type="subTitle" idx="1"/>
          </p:nvPr>
        </p:nvSpPr>
        <p:spPr>
          <a:xfrm>
            <a:off x="1371601" y="3886200"/>
            <a:ext cx="6400800" cy="1752600"/>
          </a:xfrm>
        </p:spPr>
        <p:txBody>
          <a:bodyPr/>
          <a:lstStyle>
            <a:lvl1pPr marL="0" indent="0" algn="ctr">
              <a:buFontTx/>
              <a:buNone/>
              <a:defRPr/>
            </a:lvl1pPr>
          </a:lstStyle>
          <a:p>
            <a:r>
              <a:rPr lang="ja-JP" altLang="en-US"/>
              <a:t>マスタ サブタイトルの書式設定</a:t>
            </a:r>
          </a:p>
        </p:txBody>
      </p:sp>
      <p:sp>
        <p:nvSpPr>
          <p:cNvPr id="1044" name="Rectangle 4"/>
          <p:cNvSpPr>
            <a:spLocks noGrp="1" noChangeArrowheads="1"/>
          </p:cNvSpPr>
          <p:nvPr>
            <p:ph type="dt" sz="half" idx="10"/>
          </p:nvPr>
        </p:nvSpPr>
        <p:spPr/>
        <p:txBody>
          <a:bodyPr/>
          <a:lstStyle>
            <a:lvl1pPr>
              <a:defRPr smtClean="0"/>
            </a:lvl1pPr>
          </a:lstStyle>
          <a:p>
            <a:pPr>
              <a:defRPr/>
            </a:pPr>
            <a:endParaRPr lang="en-US" altLang="ja-JP">
              <a:solidFill>
                <a:srgbClr val="000000"/>
              </a:solidFill>
            </a:endParaRPr>
          </a:p>
        </p:txBody>
      </p:sp>
      <p:sp>
        <p:nvSpPr>
          <p:cNvPr id="1045" name="Rectangle 5"/>
          <p:cNvSpPr>
            <a:spLocks noGrp="1" noChangeArrowheads="1"/>
          </p:cNvSpPr>
          <p:nvPr>
            <p:ph type="ftr" sz="quarter" idx="11"/>
          </p:nvPr>
        </p:nvSpPr>
        <p:spPr/>
        <p:txBody>
          <a:bodyPr/>
          <a:lstStyle>
            <a:lvl1pPr>
              <a:defRPr smtClean="0"/>
            </a:lvl1pPr>
          </a:lstStyle>
          <a:p>
            <a:pPr>
              <a:defRPr/>
            </a:pPr>
            <a:endParaRPr lang="en-US" altLang="ja-JP">
              <a:solidFill>
                <a:srgbClr val="000000"/>
              </a:solidFill>
            </a:endParaRPr>
          </a:p>
        </p:txBody>
      </p:sp>
      <p:pic>
        <p:nvPicPr>
          <p:cNvPr id="2" name="図 1">
            <a:extLst>
              <a:ext uri="{FF2B5EF4-FFF2-40B4-BE49-F238E27FC236}">
                <a16:creationId xmlns:a16="http://schemas.microsoft.com/office/drawing/2014/main" id="{BAB7AC06-9530-4E92-6CBE-FC8CE0D50B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81956" y="111604"/>
            <a:ext cx="1192191" cy="206058"/>
          </a:xfrm>
          <a:prstGeom prst="rect">
            <a:avLst/>
          </a:prstGeom>
        </p:spPr>
      </p:pic>
    </p:spTree>
    <p:extLst>
      <p:ext uri="{BB962C8B-B14F-4D97-AF65-F5344CB8AC3E}">
        <p14:creationId xmlns:p14="http://schemas.microsoft.com/office/powerpoint/2010/main" val="2186046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05" name="タイトル 1"/>
          <p:cNvSpPr>
            <a:spLocks noGrp="1"/>
          </p:cNvSpPr>
          <p:nvPr>
            <p:ph type="title"/>
          </p:nvPr>
        </p:nvSpPr>
        <p:spPr/>
        <p:txBody>
          <a:bodyPr/>
          <a:lstStyle/>
          <a:p>
            <a:r>
              <a:rPr lang="ja-JP" altLang="en-US"/>
              <a:t>マスタ タイトルの書式設定</a:t>
            </a:r>
          </a:p>
        </p:txBody>
      </p:sp>
      <p:sp>
        <p:nvSpPr>
          <p:cNvPr id="1106"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7"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108"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109" name="Rectangle 6"/>
          <p:cNvSpPr>
            <a:spLocks noGrp="1" noChangeArrowheads="1"/>
          </p:cNvSpPr>
          <p:nvPr>
            <p:ph type="sldNum" sz="quarter" idx="12"/>
          </p:nvPr>
        </p:nvSpPr>
        <p:spPr>
          <a:ln/>
        </p:spPr>
        <p:txBody>
          <a:bodyPr/>
          <a:lstStyle>
            <a:lvl1pPr>
              <a:defRPr/>
            </a:lvl1pPr>
          </a:lstStyle>
          <a:p>
            <a:pPr>
              <a:defRPr/>
            </a:pPr>
            <a:fld id="{66ADCCC2-471E-416A-AC66-7A9DFE1076D7}"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541145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縦書きタイトルと縦書きテキスト">
    <p:spTree>
      <p:nvGrpSpPr>
        <p:cNvPr id="1" name=""/>
        <p:cNvGrpSpPr/>
        <p:nvPr/>
      </p:nvGrpSpPr>
      <p:grpSpPr>
        <a:xfrm>
          <a:off x="0" y="0"/>
          <a:ext cx="0" cy="0"/>
          <a:chOff x="0" y="0"/>
          <a:chExt cx="0" cy="0"/>
        </a:xfrm>
      </p:grpSpPr>
      <p:sp>
        <p:nvSpPr>
          <p:cNvPr id="1112"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113"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114" name="Rectangle 6"/>
          <p:cNvSpPr>
            <a:spLocks noGrp="1" noChangeArrowheads="1"/>
          </p:cNvSpPr>
          <p:nvPr>
            <p:ph type="sldNum" sz="quarter" idx="12"/>
          </p:nvPr>
        </p:nvSpPr>
        <p:spPr>
          <a:ln/>
        </p:spPr>
        <p:txBody>
          <a:bodyPr/>
          <a:lstStyle>
            <a:lvl1pPr>
              <a:defRPr/>
            </a:lvl1pPr>
          </a:lstStyle>
          <a:p>
            <a:pPr>
              <a:defRPr/>
            </a:pPr>
            <a:fld id="{75D536A4-33CE-4A08-817F-33E526A9BF19}"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4151686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タイトルとコンテンツ">
    <p:spTree>
      <p:nvGrpSpPr>
        <p:cNvPr id="1" name=""/>
        <p:cNvGrpSpPr/>
        <p:nvPr/>
      </p:nvGrpSpPr>
      <p:grpSpPr>
        <a:xfrm>
          <a:off x="0" y="0"/>
          <a:ext cx="0" cy="0"/>
          <a:chOff x="0" y="0"/>
          <a:chExt cx="0" cy="0"/>
        </a:xfrm>
      </p:grpSpPr>
      <p:grpSp>
        <p:nvGrpSpPr>
          <p:cNvPr id="1301" name="Group 18"/>
          <p:cNvGrpSpPr/>
          <p:nvPr userDrawn="1"/>
        </p:nvGrpSpPr>
        <p:grpSpPr>
          <a:xfrm>
            <a:off x="0" y="0"/>
            <a:ext cx="9144000" cy="546100"/>
            <a:chOff x="0" y="0"/>
            <a:chExt cx="5760" cy="344"/>
          </a:xfrm>
        </p:grpSpPr>
        <p:pic>
          <p:nvPicPr>
            <p:cNvPr id="1302" name="Picture 9" descr="mlit_top"/>
            <p:cNvPicPr>
              <a:picLocks noChangeAspect="1" noChangeArrowheads="1"/>
            </p:cNvPicPr>
            <p:nvPr userDrawn="1"/>
          </p:nvPicPr>
          <p:blipFill>
            <a:blip r:embed="rId2"/>
            <a:srcRect/>
            <a:stretch/>
          </p:blipFill>
          <p:spPr>
            <a:xfrm>
              <a:off x="0" y="300"/>
              <a:ext cx="5760" cy="44"/>
            </a:xfrm>
            <a:prstGeom prst="rect">
              <a:avLst/>
            </a:prstGeom>
            <a:noFill/>
            <a:ln w="9525">
              <a:noFill/>
              <a:miter lim="800000"/>
              <a:headEnd/>
              <a:tailEnd/>
            </a:ln>
          </p:spPr>
        </p:pic>
        <p:grpSp>
          <p:nvGrpSpPr>
            <p:cNvPr id="1303" name="Group 17"/>
            <p:cNvGrpSpPr/>
            <p:nvPr userDrawn="1"/>
          </p:nvGrpSpPr>
          <p:grpSpPr>
            <a:xfrm>
              <a:off x="0" y="0"/>
              <a:ext cx="5760" cy="318"/>
              <a:chOff x="0" y="0"/>
              <a:chExt cx="5760" cy="318"/>
            </a:xfrm>
          </p:grpSpPr>
          <p:pic>
            <p:nvPicPr>
              <p:cNvPr id="1304" name="Picture 11" descr="mlit_top"/>
              <p:cNvPicPr>
                <a:picLocks noChangeAspect="1" noChangeArrowheads="1"/>
              </p:cNvPicPr>
              <p:nvPr userDrawn="1"/>
            </p:nvPicPr>
            <p:blipFill>
              <a:blip r:embed="rId3" cstate="print">
                <a:extLst>
                  <a:ext uri="{28A0092B-C50C-407E-A947-70E740481C1C}">
                    <a14:useLocalDpi xmlns:a14="http://schemas.microsoft.com/office/drawing/2010/main"/>
                  </a:ext>
                </a:extLst>
              </a:blip>
              <a:srcRect r="66945" b="42805"/>
              <a:stretch>
                <a:fillRect/>
              </a:stretch>
            </p:blipFill>
            <p:spPr>
              <a:xfrm>
                <a:off x="3856" y="0"/>
                <a:ext cx="1904" cy="318"/>
              </a:xfrm>
              <a:prstGeom prst="rect">
                <a:avLst/>
              </a:prstGeom>
              <a:noFill/>
              <a:ln w="9525">
                <a:noFill/>
                <a:miter lim="800000"/>
                <a:headEnd/>
                <a:tailEnd/>
              </a:ln>
            </p:spPr>
          </p:pic>
          <p:pic>
            <p:nvPicPr>
              <p:cNvPr id="1305" name="Picture 16" descr="mlit_top"/>
              <p:cNvPicPr>
                <a:picLocks noChangeAspect="1" noChangeArrowheads="1"/>
              </p:cNvPicPr>
              <p:nvPr userDrawn="1"/>
            </p:nvPicPr>
            <p:blipFill>
              <a:blip r:embed="rId4" cstate="print">
                <a:extLst>
                  <a:ext uri="{28A0092B-C50C-407E-A947-70E740481C1C}">
                    <a14:useLocalDpi xmlns:a14="http://schemas.microsoft.com/office/drawing/2010/main"/>
                  </a:ext>
                </a:extLst>
              </a:blip>
              <a:srcRect l="50000" b="42805"/>
              <a:stretch>
                <a:fillRect/>
              </a:stretch>
            </p:blipFill>
            <p:spPr>
              <a:xfrm>
                <a:off x="1043" y="0"/>
                <a:ext cx="2880" cy="318"/>
              </a:xfrm>
              <a:prstGeom prst="rect">
                <a:avLst/>
              </a:prstGeom>
              <a:noFill/>
              <a:ln w="9525">
                <a:noFill/>
                <a:miter lim="800000"/>
                <a:headEnd/>
                <a:tailEnd/>
              </a:ln>
            </p:spPr>
          </p:pic>
          <p:pic>
            <p:nvPicPr>
              <p:cNvPr id="1306" name="Picture 10" descr="mlit_top"/>
              <p:cNvPicPr>
                <a:picLocks noChangeAspect="1" noChangeArrowheads="1"/>
              </p:cNvPicPr>
              <p:nvPr userDrawn="1"/>
            </p:nvPicPr>
            <p:blipFill>
              <a:blip r:embed="rId4" cstate="print">
                <a:extLst>
                  <a:ext uri="{28A0092B-C50C-407E-A947-70E740481C1C}">
                    <a14:useLocalDpi xmlns:a14="http://schemas.microsoft.com/office/drawing/2010/main"/>
                  </a:ext>
                </a:extLst>
              </a:blip>
              <a:srcRect l="68906" b="42805"/>
              <a:stretch>
                <a:fillRect/>
              </a:stretch>
            </p:blipFill>
            <p:spPr>
              <a:xfrm>
                <a:off x="0" y="0"/>
                <a:ext cx="1791" cy="318"/>
              </a:xfrm>
              <a:prstGeom prst="rect">
                <a:avLst/>
              </a:prstGeom>
              <a:noFill/>
              <a:ln w="9525">
                <a:noFill/>
                <a:miter lim="800000"/>
                <a:headEnd/>
                <a:tailEnd/>
              </a:ln>
            </p:spPr>
          </p:pic>
        </p:grpSp>
      </p:grpSp>
      <p:sp>
        <p:nvSpPr>
          <p:cNvPr id="1308" name="Rectangle 4"/>
          <p:cNvSpPr>
            <a:spLocks noGrp="1" noChangeArrowheads="1"/>
          </p:cNvSpPr>
          <p:nvPr>
            <p:ph type="dt" sz="half" idx="10"/>
          </p:nvPr>
        </p:nvSpPr>
        <p:spPr>
          <a:ln/>
        </p:spPr>
        <p:txBody>
          <a:bodyPr/>
          <a:lstStyle>
            <a:lvl1pPr>
              <a:defRPr/>
            </a:lvl1pPr>
          </a:lstStyle>
          <a:p>
            <a:pPr defTabSz="719255">
              <a:defRPr/>
            </a:pPr>
            <a:endParaRPr lang="en-US" altLang="ja-JP">
              <a:solidFill>
                <a:prstClr val="black"/>
              </a:solidFill>
            </a:endParaRPr>
          </a:p>
        </p:txBody>
      </p:sp>
      <p:sp>
        <p:nvSpPr>
          <p:cNvPr id="1309" name="Rectangle 5"/>
          <p:cNvSpPr>
            <a:spLocks noGrp="1" noChangeArrowheads="1"/>
          </p:cNvSpPr>
          <p:nvPr>
            <p:ph type="ftr" sz="quarter" idx="11"/>
          </p:nvPr>
        </p:nvSpPr>
        <p:spPr>
          <a:ln/>
        </p:spPr>
        <p:txBody>
          <a:bodyPr/>
          <a:lstStyle>
            <a:lvl1pPr>
              <a:defRPr/>
            </a:lvl1pPr>
          </a:lstStyle>
          <a:p>
            <a:pPr defTabSz="719255">
              <a:defRPr/>
            </a:pPr>
            <a:endParaRPr lang="en-US" altLang="ja-JP">
              <a:solidFill>
                <a:prstClr val="black"/>
              </a:solidFill>
            </a:endParaRPr>
          </a:p>
        </p:txBody>
      </p:sp>
      <p:sp>
        <p:nvSpPr>
          <p:cNvPr id="1310" name="Rectangle 6"/>
          <p:cNvSpPr>
            <a:spLocks noGrp="1" noChangeArrowheads="1"/>
          </p:cNvSpPr>
          <p:nvPr>
            <p:ph type="sldNum" sz="quarter" idx="12"/>
          </p:nvPr>
        </p:nvSpPr>
        <p:spPr>
          <a:xfrm>
            <a:off x="7010403" y="6453346"/>
            <a:ext cx="2133600" cy="372575"/>
          </a:xfrm>
          <a:ln/>
        </p:spPr>
        <p:txBody>
          <a:bodyPr/>
          <a:lstStyle>
            <a:lvl1pPr>
              <a:defRPr/>
            </a:lvl1pPr>
          </a:lstStyle>
          <a:p>
            <a:pPr defTabSz="719255">
              <a:defRPr/>
            </a:pPr>
            <a:fld id="{D4B74F2F-8AC3-4176-909B-1146A5006987}" type="slidenum">
              <a:rPr lang="en-US" altLang="ja-JP" smtClean="0">
                <a:solidFill>
                  <a:prstClr val="black"/>
                </a:solidFill>
              </a:rPr>
              <a:pPr defTabSz="719255">
                <a:defRPr/>
              </a:pPr>
              <a:t>‹#›</a:t>
            </a:fld>
            <a:endParaRPr lang="en-US" altLang="ja-JP">
              <a:solidFill>
                <a:prstClr val="black"/>
              </a:solidFill>
            </a:endParaRPr>
          </a:p>
        </p:txBody>
      </p:sp>
    </p:spTree>
    <p:extLst>
      <p:ext uri="{BB962C8B-B14F-4D97-AF65-F5344CB8AC3E}">
        <p14:creationId xmlns:p14="http://schemas.microsoft.com/office/powerpoint/2010/main" val="634545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826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1" y="2130491"/>
            <a:ext cx="7772400" cy="1470025"/>
          </a:xfrm>
        </p:spPr>
        <p:txBody>
          <a:bodyPr/>
          <a:lstStyle/>
          <a:p>
            <a:r>
              <a:rPr lang="ja-JP" altLang="en-US"/>
              <a:t>マスタ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331966" indent="0" algn="ctr">
              <a:buNone/>
              <a:defRPr/>
            </a:lvl2pPr>
            <a:lvl3pPr marL="663933" indent="0" algn="ctr">
              <a:buNone/>
              <a:defRPr/>
            </a:lvl3pPr>
            <a:lvl4pPr marL="995898" indent="0" algn="ctr">
              <a:buNone/>
              <a:defRPr/>
            </a:lvl4pPr>
            <a:lvl5pPr marL="1327864" indent="0" algn="ctr">
              <a:buNone/>
              <a:defRPr/>
            </a:lvl5pPr>
            <a:lvl6pPr marL="1659832" indent="0" algn="ctr">
              <a:buNone/>
              <a:defRPr/>
            </a:lvl6pPr>
            <a:lvl7pPr marL="1991798" indent="0" algn="ctr">
              <a:buNone/>
              <a:defRPr/>
            </a:lvl7pPr>
            <a:lvl8pPr marL="2323763" indent="0" algn="ctr">
              <a:buNone/>
              <a:defRPr/>
            </a:lvl8pPr>
            <a:lvl9pPr marL="2655730" indent="0" algn="ctr">
              <a:buNone/>
              <a:defRPr/>
            </a:lvl9pPr>
          </a:lstStyle>
          <a:p>
            <a:r>
              <a:rPr lang="ja-JP" altLang="en-US"/>
              <a:t>マスタ サブタイトルの書式設定</a:t>
            </a:r>
          </a:p>
        </p:txBody>
      </p:sp>
    </p:spTree>
    <p:extLst>
      <p:ext uri="{BB962C8B-B14F-4D97-AF65-F5344CB8AC3E}">
        <p14:creationId xmlns:p14="http://schemas.microsoft.com/office/powerpoint/2010/main" val="7691170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728799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435" y="4406966"/>
            <a:ext cx="7772400" cy="1362075"/>
          </a:xfrm>
        </p:spPr>
        <p:txBody>
          <a:bodyPr anchor="t"/>
          <a:lstStyle>
            <a:lvl1pPr algn="l">
              <a:defRPr sz="2904" b="1" cap="all"/>
            </a:lvl1pPr>
          </a:lstStyle>
          <a:p>
            <a:r>
              <a:rPr lang="ja-JP" altLang="en-US"/>
              <a:t>マスタ タイトルの書式設定</a:t>
            </a:r>
          </a:p>
        </p:txBody>
      </p:sp>
      <p:sp>
        <p:nvSpPr>
          <p:cNvPr id="3" name="テキスト プレースホルダ 2"/>
          <p:cNvSpPr>
            <a:spLocks noGrp="1"/>
          </p:cNvSpPr>
          <p:nvPr>
            <p:ph type="body" idx="1"/>
          </p:nvPr>
        </p:nvSpPr>
        <p:spPr>
          <a:xfrm>
            <a:off x="722435" y="2906719"/>
            <a:ext cx="7772400" cy="1500187"/>
          </a:xfrm>
        </p:spPr>
        <p:txBody>
          <a:bodyPr anchor="b"/>
          <a:lstStyle>
            <a:lvl1pPr marL="0" indent="0">
              <a:buNone/>
              <a:defRPr sz="1452"/>
            </a:lvl1pPr>
            <a:lvl2pPr marL="331966" indent="0">
              <a:buNone/>
              <a:defRPr sz="1307"/>
            </a:lvl2pPr>
            <a:lvl3pPr marL="663933" indent="0">
              <a:buNone/>
              <a:defRPr sz="1161"/>
            </a:lvl3pPr>
            <a:lvl4pPr marL="995898" indent="0">
              <a:buNone/>
              <a:defRPr sz="1016"/>
            </a:lvl4pPr>
            <a:lvl5pPr marL="1327864" indent="0">
              <a:buNone/>
              <a:defRPr sz="1016"/>
            </a:lvl5pPr>
            <a:lvl6pPr marL="1659832" indent="0">
              <a:buNone/>
              <a:defRPr sz="1016"/>
            </a:lvl6pPr>
            <a:lvl7pPr marL="1991798" indent="0">
              <a:buNone/>
              <a:defRPr sz="1016"/>
            </a:lvl7pPr>
            <a:lvl8pPr marL="2323763" indent="0">
              <a:buNone/>
              <a:defRPr sz="1016"/>
            </a:lvl8pPr>
            <a:lvl9pPr marL="2655730" indent="0">
              <a:buNone/>
              <a:defRPr sz="1016"/>
            </a:lvl9pPr>
          </a:lstStyle>
          <a:p>
            <a:pPr lvl="0"/>
            <a:r>
              <a:rPr lang="ja-JP" altLang="en-US"/>
              <a:t>マスタ テキストの書式設定</a:t>
            </a:r>
          </a:p>
        </p:txBody>
      </p:sp>
    </p:spTree>
    <p:extLst>
      <p:ext uri="{BB962C8B-B14F-4D97-AF65-F5344CB8AC3E}">
        <p14:creationId xmlns:p14="http://schemas.microsoft.com/office/powerpoint/2010/main" val="22615976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57203" y="1600207"/>
            <a:ext cx="4044462" cy="4525963"/>
          </a:xfrm>
        </p:spPr>
        <p:txBody>
          <a:bodyPr/>
          <a:lstStyle>
            <a:lvl1pPr>
              <a:defRPr sz="2034"/>
            </a:lvl1pPr>
            <a:lvl2pPr>
              <a:defRPr sz="1743"/>
            </a:lvl2pPr>
            <a:lvl3pPr>
              <a:defRPr sz="1452"/>
            </a:lvl3pPr>
            <a:lvl4pPr>
              <a:defRPr sz="1307"/>
            </a:lvl4pPr>
            <a:lvl5pPr>
              <a:defRPr sz="1307"/>
            </a:lvl5pPr>
            <a:lvl6pPr>
              <a:defRPr sz="1307"/>
            </a:lvl6pPr>
            <a:lvl7pPr>
              <a:defRPr sz="1307"/>
            </a:lvl7pPr>
            <a:lvl8pPr>
              <a:defRPr sz="1307"/>
            </a:lvl8pPr>
            <a:lvl9pPr>
              <a:defRPr sz="130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4642339" y="1600207"/>
            <a:ext cx="4044462" cy="4525963"/>
          </a:xfrm>
        </p:spPr>
        <p:txBody>
          <a:bodyPr/>
          <a:lstStyle>
            <a:lvl1pPr>
              <a:defRPr sz="2034"/>
            </a:lvl1pPr>
            <a:lvl2pPr>
              <a:defRPr sz="1743"/>
            </a:lvl2pPr>
            <a:lvl3pPr>
              <a:defRPr sz="1452"/>
            </a:lvl3pPr>
            <a:lvl4pPr>
              <a:defRPr sz="1307"/>
            </a:lvl4pPr>
            <a:lvl5pPr>
              <a:defRPr sz="1307"/>
            </a:lvl5pPr>
            <a:lvl6pPr>
              <a:defRPr sz="1307"/>
            </a:lvl6pPr>
            <a:lvl7pPr>
              <a:defRPr sz="1307"/>
            </a:lvl7pPr>
            <a:lvl8pPr>
              <a:defRPr sz="1307"/>
            </a:lvl8pPr>
            <a:lvl9pPr>
              <a:defRPr sz="130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6111960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57201" y="1535114"/>
            <a:ext cx="4040066" cy="639762"/>
          </a:xfrm>
        </p:spPr>
        <p:txBody>
          <a:bodyPr anchor="b"/>
          <a:lstStyle>
            <a:lvl1pPr marL="0" indent="0">
              <a:buNone/>
              <a:defRPr sz="1743" b="1"/>
            </a:lvl1pPr>
            <a:lvl2pPr marL="331966" indent="0">
              <a:buNone/>
              <a:defRPr sz="1452" b="1"/>
            </a:lvl2pPr>
            <a:lvl3pPr marL="663933" indent="0">
              <a:buNone/>
              <a:defRPr sz="1307" b="1"/>
            </a:lvl3pPr>
            <a:lvl4pPr marL="995898" indent="0">
              <a:buNone/>
              <a:defRPr sz="1161" b="1"/>
            </a:lvl4pPr>
            <a:lvl5pPr marL="1327864" indent="0">
              <a:buNone/>
              <a:defRPr sz="1161" b="1"/>
            </a:lvl5pPr>
            <a:lvl6pPr marL="1659832" indent="0">
              <a:buNone/>
              <a:defRPr sz="1161" b="1"/>
            </a:lvl6pPr>
            <a:lvl7pPr marL="1991798" indent="0">
              <a:buNone/>
              <a:defRPr sz="1161" b="1"/>
            </a:lvl7pPr>
            <a:lvl8pPr marL="2323763" indent="0">
              <a:buNone/>
              <a:defRPr sz="1161" b="1"/>
            </a:lvl8pPr>
            <a:lvl9pPr marL="2655730" indent="0">
              <a:buNone/>
              <a:defRPr sz="1161"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57201" y="2174875"/>
            <a:ext cx="4040066" cy="3951288"/>
          </a:xfrm>
        </p:spPr>
        <p:txBody>
          <a:bodyPr/>
          <a:lstStyle>
            <a:lvl1pPr>
              <a:defRPr sz="1743"/>
            </a:lvl1pPr>
            <a:lvl2pPr>
              <a:defRPr sz="1452"/>
            </a:lvl2pPr>
            <a:lvl3pPr>
              <a:defRPr sz="1307"/>
            </a:lvl3pPr>
            <a:lvl4pPr>
              <a:defRPr sz="1161"/>
            </a:lvl4pPr>
            <a:lvl5pPr>
              <a:defRPr sz="1161"/>
            </a:lvl5pPr>
            <a:lvl6pPr>
              <a:defRPr sz="1161"/>
            </a:lvl6pPr>
            <a:lvl7pPr>
              <a:defRPr sz="1161"/>
            </a:lvl7pPr>
            <a:lvl8pPr>
              <a:defRPr sz="1161"/>
            </a:lvl8pPr>
            <a:lvl9pPr>
              <a:defRPr sz="1161"/>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4645303" y="1535114"/>
            <a:ext cx="4041531" cy="639762"/>
          </a:xfrm>
        </p:spPr>
        <p:txBody>
          <a:bodyPr anchor="b"/>
          <a:lstStyle>
            <a:lvl1pPr marL="0" indent="0">
              <a:buNone/>
              <a:defRPr sz="1743" b="1"/>
            </a:lvl1pPr>
            <a:lvl2pPr marL="331966" indent="0">
              <a:buNone/>
              <a:defRPr sz="1452" b="1"/>
            </a:lvl2pPr>
            <a:lvl3pPr marL="663933" indent="0">
              <a:buNone/>
              <a:defRPr sz="1307" b="1"/>
            </a:lvl3pPr>
            <a:lvl4pPr marL="995898" indent="0">
              <a:buNone/>
              <a:defRPr sz="1161" b="1"/>
            </a:lvl4pPr>
            <a:lvl5pPr marL="1327864" indent="0">
              <a:buNone/>
              <a:defRPr sz="1161" b="1"/>
            </a:lvl5pPr>
            <a:lvl6pPr marL="1659832" indent="0">
              <a:buNone/>
              <a:defRPr sz="1161" b="1"/>
            </a:lvl6pPr>
            <a:lvl7pPr marL="1991798" indent="0">
              <a:buNone/>
              <a:defRPr sz="1161" b="1"/>
            </a:lvl7pPr>
            <a:lvl8pPr marL="2323763" indent="0">
              <a:buNone/>
              <a:defRPr sz="1161" b="1"/>
            </a:lvl8pPr>
            <a:lvl9pPr marL="2655730" indent="0">
              <a:buNone/>
              <a:defRPr sz="1161"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4645303" y="2174875"/>
            <a:ext cx="4041531" cy="3951288"/>
          </a:xfrm>
        </p:spPr>
        <p:txBody>
          <a:bodyPr/>
          <a:lstStyle>
            <a:lvl1pPr>
              <a:defRPr sz="1743"/>
            </a:lvl1pPr>
            <a:lvl2pPr>
              <a:defRPr sz="1452"/>
            </a:lvl2pPr>
            <a:lvl3pPr>
              <a:defRPr sz="1307"/>
            </a:lvl3pPr>
            <a:lvl4pPr>
              <a:defRPr sz="1161"/>
            </a:lvl4pPr>
            <a:lvl5pPr>
              <a:defRPr sz="1161"/>
            </a:lvl5pPr>
            <a:lvl6pPr>
              <a:defRPr sz="1161"/>
            </a:lvl6pPr>
            <a:lvl7pPr>
              <a:defRPr sz="1161"/>
            </a:lvl7pPr>
            <a:lvl8pPr>
              <a:defRPr sz="1161"/>
            </a:lvl8pPr>
            <a:lvl9pPr>
              <a:defRPr sz="1161"/>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1060740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Tree>
    <p:extLst>
      <p:ext uri="{BB962C8B-B14F-4D97-AF65-F5344CB8AC3E}">
        <p14:creationId xmlns:p14="http://schemas.microsoft.com/office/powerpoint/2010/main" val="3841895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8" name="タイトル 1"/>
          <p:cNvSpPr>
            <a:spLocks noGrp="1"/>
          </p:cNvSpPr>
          <p:nvPr>
            <p:ph type="title"/>
          </p:nvPr>
        </p:nvSpPr>
        <p:spPr/>
        <p:txBody>
          <a:bodyPr/>
          <a:lstStyle/>
          <a:p>
            <a:r>
              <a:rPr lang="ja-JP" altLang="en-US"/>
              <a:t>マスタ タイトルの書式設定</a:t>
            </a:r>
          </a:p>
        </p:txBody>
      </p:sp>
      <p:sp>
        <p:nvSpPr>
          <p:cNvPr id="10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0"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51"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52" name="Rectangle 6"/>
          <p:cNvSpPr>
            <a:spLocks noGrp="1" noChangeArrowheads="1"/>
          </p:cNvSpPr>
          <p:nvPr>
            <p:ph type="sldNum" sz="quarter" idx="12"/>
          </p:nvPr>
        </p:nvSpPr>
        <p:spPr>
          <a:ln/>
        </p:spPr>
        <p:txBody>
          <a:bodyPr/>
          <a:lstStyle>
            <a:lvl1pPr>
              <a:defRPr/>
            </a:lvl1pPr>
          </a:lstStyle>
          <a:p>
            <a:pPr>
              <a:defRPr/>
            </a:pPr>
            <a:fld id="{50670A99-3D0F-4E41-9017-CF829A5A3901}"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579844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2727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7" y="273051"/>
            <a:ext cx="3008435" cy="1162050"/>
          </a:xfrm>
        </p:spPr>
        <p:txBody>
          <a:bodyPr anchor="b"/>
          <a:lstStyle>
            <a:lvl1pPr algn="l">
              <a:defRPr sz="1452" b="1"/>
            </a:lvl1pPr>
          </a:lstStyle>
          <a:p>
            <a:r>
              <a:rPr lang="ja-JP" altLang="en-US"/>
              <a:t>マスタ タイトルの書式設定</a:t>
            </a:r>
          </a:p>
        </p:txBody>
      </p:sp>
      <p:sp>
        <p:nvSpPr>
          <p:cNvPr id="3" name="コンテンツ プレースホルダ 2"/>
          <p:cNvSpPr>
            <a:spLocks noGrp="1"/>
          </p:cNvSpPr>
          <p:nvPr>
            <p:ph idx="1"/>
          </p:nvPr>
        </p:nvSpPr>
        <p:spPr>
          <a:xfrm>
            <a:off x="3575538" y="273063"/>
            <a:ext cx="5111262" cy="5853113"/>
          </a:xfrm>
        </p:spPr>
        <p:txBody>
          <a:bodyPr/>
          <a:lstStyle>
            <a:lvl1pPr>
              <a:defRPr sz="2323"/>
            </a:lvl1pPr>
            <a:lvl2pPr>
              <a:defRPr sz="2034"/>
            </a:lvl2pPr>
            <a:lvl3pPr>
              <a:defRPr sz="1743"/>
            </a:lvl3pPr>
            <a:lvl4pPr>
              <a:defRPr sz="1452"/>
            </a:lvl4pPr>
            <a:lvl5pPr>
              <a:defRPr sz="1452"/>
            </a:lvl5pPr>
            <a:lvl6pPr>
              <a:defRPr sz="1452"/>
            </a:lvl6pPr>
            <a:lvl7pPr>
              <a:defRPr sz="1452"/>
            </a:lvl7pPr>
            <a:lvl8pPr>
              <a:defRPr sz="1452"/>
            </a:lvl8pPr>
            <a:lvl9pPr>
              <a:defRPr sz="145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57207" y="1435104"/>
            <a:ext cx="3008435" cy="4691063"/>
          </a:xfrm>
        </p:spPr>
        <p:txBody>
          <a:bodyPr/>
          <a:lstStyle>
            <a:lvl1pPr marL="0" indent="0">
              <a:buNone/>
              <a:defRPr sz="1016"/>
            </a:lvl1pPr>
            <a:lvl2pPr marL="331966" indent="0">
              <a:buNone/>
              <a:defRPr sz="871"/>
            </a:lvl2pPr>
            <a:lvl3pPr marL="663933" indent="0">
              <a:buNone/>
              <a:defRPr sz="726"/>
            </a:lvl3pPr>
            <a:lvl4pPr marL="995898" indent="0">
              <a:buNone/>
              <a:defRPr sz="654"/>
            </a:lvl4pPr>
            <a:lvl5pPr marL="1327864" indent="0">
              <a:buNone/>
              <a:defRPr sz="654"/>
            </a:lvl5pPr>
            <a:lvl6pPr marL="1659832" indent="0">
              <a:buNone/>
              <a:defRPr sz="654"/>
            </a:lvl6pPr>
            <a:lvl7pPr marL="1991798" indent="0">
              <a:buNone/>
              <a:defRPr sz="654"/>
            </a:lvl7pPr>
            <a:lvl8pPr marL="2323763" indent="0">
              <a:buNone/>
              <a:defRPr sz="654"/>
            </a:lvl8pPr>
            <a:lvl9pPr marL="2655730" indent="0">
              <a:buNone/>
              <a:defRPr sz="654"/>
            </a:lvl9pPr>
          </a:lstStyle>
          <a:p>
            <a:pPr lvl="0"/>
            <a:r>
              <a:rPr lang="ja-JP" altLang="en-US"/>
              <a:t>マスタ テキストの書式設定</a:t>
            </a:r>
          </a:p>
        </p:txBody>
      </p:sp>
    </p:spTree>
    <p:extLst>
      <p:ext uri="{BB962C8B-B14F-4D97-AF65-F5344CB8AC3E}">
        <p14:creationId xmlns:p14="http://schemas.microsoft.com/office/powerpoint/2010/main" val="3396461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166" y="4800600"/>
            <a:ext cx="5486400" cy="566738"/>
          </a:xfrm>
        </p:spPr>
        <p:txBody>
          <a:bodyPr anchor="b"/>
          <a:lstStyle>
            <a:lvl1pPr algn="l">
              <a:defRPr sz="1452" b="1"/>
            </a:lvl1pPr>
          </a:lstStyle>
          <a:p>
            <a:r>
              <a:rPr lang="ja-JP" altLang="en-US"/>
              <a:t>マスタ タイトルの書式設定</a:t>
            </a:r>
          </a:p>
        </p:txBody>
      </p:sp>
      <p:sp>
        <p:nvSpPr>
          <p:cNvPr id="3" name="図プレースホルダ 2"/>
          <p:cNvSpPr>
            <a:spLocks noGrp="1"/>
          </p:cNvSpPr>
          <p:nvPr>
            <p:ph type="pic" idx="1"/>
          </p:nvPr>
        </p:nvSpPr>
        <p:spPr>
          <a:xfrm>
            <a:off x="1792166" y="612775"/>
            <a:ext cx="5486400" cy="4114800"/>
          </a:xfrm>
        </p:spPr>
        <p:txBody>
          <a:bodyPr/>
          <a:lstStyle>
            <a:lvl1pPr marL="0" indent="0">
              <a:buNone/>
              <a:defRPr sz="2323"/>
            </a:lvl1pPr>
            <a:lvl2pPr marL="331966" indent="0">
              <a:buNone/>
              <a:defRPr sz="2034"/>
            </a:lvl2pPr>
            <a:lvl3pPr marL="663933" indent="0">
              <a:buNone/>
              <a:defRPr sz="1743"/>
            </a:lvl3pPr>
            <a:lvl4pPr marL="995898" indent="0">
              <a:buNone/>
              <a:defRPr sz="1452"/>
            </a:lvl4pPr>
            <a:lvl5pPr marL="1327864" indent="0">
              <a:buNone/>
              <a:defRPr sz="1452"/>
            </a:lvl5pPr>
            <a:lvl6pPr marL="1659832" indent="0">
              <a:buNone/>
              <a:defRPr sz="1452"/>
            </a:lvl6pPr>
            <a:lvl7pPr marL="1991798" indent="0">
              <a:buNone/>
              <a:defRPr sz="1452"/>
            </a:lvl7pPr>
            <a:lvl8pPr marL="2323763" indent="0">
              <a:buNone/>
              <a:defRPr sz="1452"/>
            </a:lvl8pPr>
            <a:lvl9pPr marL="2655730" indent="0">
              <a:buNone/>
              <a:defRPr sz="1452"/>
            </a:lvl9pPr>
          </a:lstStyle>
          <a:p>
            <a:pPr lvl="0"/>
            <a:r>
              <a:rPr lang="ja-JP" altLang="en-US" noProof="0"/>
              <a:t>アイコンをクリックして図を追加</a:t>
            </a:r>
          </a:p>
        </p:txBody>
      </p:sp>
      <p:sp>
        <p:nvSpPr>
          <p:cNvPr id="4" name="テキスト プレースホルダ 3"/>
          <p:cNvSpPr>
            <a:spLocks noGrp="1"/>
          </p:cNvSpPr>
          <p:nvPr>
            <p:ph type="body" sz="half" idx="2"/>
          </p:nvPr>
        </p:nvSpPr>
        <p:spPr>
          <a:xfrm>
            <a:off x="1792166" y="5367338"/>
            <a:ext cx="5486400" cy="804862"/>
          </a:xfrm>
        </p:spPr>
        <p:txBody>
          <a:bodyPr/>
          <a:lstStyle>
            <a:lvl1pPr marL="0" indent="0">
              <a:buNone/>
              <a:defRPr sz="1016"/>
            </a:lvl1pPr>
            <a:lvl2pPr marL="331966" indent="0">
              <a:buNone/>
              <a:defRPr sz="871"/>
            </a:lvl2pPr>
            <a:lvl3pPr marL="663933" indent="0">
              <a:buNone/>
              <a:defRPr sz="726"/>
            </a:lvl3pPr>
            <a:lvl4pPr marL="995898" indent="0">
              <a:buNone/>
              <a:defRPr sz="654"/>
            </a:lvl4pPr>
            <a:lvl5pPr marL="1327864" indent="0">
              <a:buNone/>
              <a:defRPr sz="654"/>
            </a:lvl5pPr>
            <a:lvl6pPr marL="1659832" indent="0">
              <a:buNone/>
              <a:defRPr sz="654"/>
            </a:lvl6pPr>
            <a:lvl7pPr marL="1991798" indent="0">
              <a:buNone/>
              <a:defRPr sz="654"/>
            </a:lvl7pPr>
            <a:lvl8pPr marL="2323763" indent="0">
              <a:buNone/>
              <a:defRPr sz="654"/>
            </a:lvl8pPr>
            <a:lvl9pPr marL="2655730" indent="0">
              <a:buNone/>
              <a:defRPr sz="654"/>
            </a:lvl9pPr>
          </a:lstStyle>
          <a:p>
            <a:pPr lvl="0"/>
            <a:r>
              <a:rPr lang="ja-JP" altLang="en-US"/>
              <a:t>マスタ テキストの書式設定</a:t>
            </a:r>
          </a:p>
        </p:txBody>
      </p:sp>
    </p:spTree>
    <p:extLst>
      <p:ext uri="{BB962C8B-B14F-4D97-AF65-F5344CB8AC3E}">
        <p14:creationId xmlns:p14="http://schemas.microsoft.com/office/powerpoint/2010/main" val="1539759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8913453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15100" y="12"/>
            <a:ext cx="2171700" cy="6126163"/>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35" y="12"/>
            <a:ext cx="6374423" cy="6126163"/>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4679155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0" y="12"/>
            <a:ext cx="8686800" cy="61261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9160817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bl" preserve="1">
  <p:cSld name="タイトルと表">
    <p:spTree>
      <p:nvGrpSpPr>
        <p:cNvPr id="1" name=""/>
        <p:cNvGrpSpPr/>
        <p:nvPr/>
      </p:nvGrpSpPr>
      <p:grpSpPr>
        <a:xfrm>
          <a:off x="0" y="0"/>
          <a:ext cx="0" cy="0"/>
          <a:chOff x="0" y="0"/>
          <a:chExt cx="0" cy="0"/>
        </a:xfrm>
      </p:grpSpPr>
      <p:sp>
        <p:nvSpPr>
          <p:cNvPr id="2" name="タイトル 1"/>
          <p:cNvSpPr>
            <a:spLocks noGrp="1"/>
          </p:cNvSpPr>
          <p:nvPr>
            <p:ph type="title"/>
          </p:nvPr>
        </p:nvSpPr>
        <p:spPr>
          <a:xfrm>
            <a:off x="4" y="0"/>
            <a:ext cx="7020657" cy="476250"/>
          </a:xfrm>
        </p:spPr>
        <p:txBody>
          <a:bodyPr/>
          <a:lstStyle/>
          <a:p>
            <a:r>
              <a:rPr lang="ja-JP" altLang="en-US"/>
              <a:t>マスタ タイトルの書式設定</a:t>
            </a:r>
          </a:p>
        </p:txBody>
      </p:sp>
      <p:sp>
        <p:nvSpPr>
          <p:cNvPr id="3" name="表プレースホルダ 2"/>
          <p:cNvSpPr>
            <a:spLocks noGrp="1"/>
          </p:cNvSpPr>
          <p:nvPr>
            <p:ph type="tbl" idx="1"/>
          </p:nvPr>
        </p:nvSpPr>
        <p:spPr>
          <a:xfrm>
            <a:off x="457200" y="1600207"/>
            <a:ext cx="8229600" cy="4525963"/>
          </a:xfrm>
        </p:spPr>
        <p:txBody>
          <a:bodyPr/>
          <a:lstStyle/>
          <a:p>
            <a:pPr lvl="0"/>
            <a:r>
              <a:rPr lang="ja-JP" altLang="en-US" noProof="0"/>
              <a:t>アイコンをクリックして表を追加</a:t>
            </a:r>
          </a:p>
        </p:txBody>
      </p:sp>
    </p:spTree>
    <p:extLst>
      <p:ext uri="{BB962C8B-B14F-4D97-AF65-F5344CB8AC3E}">
        <p14:creationId xmlns:p14="http://schemas.microsoft.com/office/powerpoint/2010/main" val="38601941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202577" y="1840097"/>
            <a:ext cx="8790327" cy="4621671"/>
          </a:xfrm>
        </p:spPr>
        <p:txBody>
          <a:bodyPr/>
          <a:lstStyle>
            <a:lvl1pPr>
              <a:defRPr sz="2034"/>
            </a:lvl1pPr>
            <a:lvl2pPr>
              <a:defRPr sz="1743"/>
            </a:lvl2pPr>
            <a:lvl3pPr>
              <a:defRPr sz="1452"/>
            </a:lvl3pPr>
            <a:lvl4pPr>
              <a:defRPr sz="1307"/>
            </a:lvl4pPr>
            <a:lvl5pPr>
              <a:defRPr sz="1307"/>
            </a:lvl5pPr>
            <a:lvl6pPr>
              <a:defRPr sz="1307"/>
            </a:lvl6pPr>
            <a:lvl7pPr>
              <a:defRPr sz="1307"/>
            </a:lvl7pPr>
            <a:lvl8pPr>
              <a:defRPr sz="1307"/>
            </a:lvl8pPr>
            <a:lvl9pPr>
              <a:defRPr sz="130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9" name="コンテンツ プレースホルダ 8"/>
          <p:cNvSpPr>
            <a:spLocks noGrp="1"/>
          </p:cNvSpPr>
          <p:nvPr>
            <p:ph sz="quarter" idx="13"/>
          </p:nvPr>
        </p:nvSpPr>
        <p:spPr>
          <a:xfrm>
            <a:off x="213965" y="682629"/>
            <a:ext cx="8789377" cy="1010706"/>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 4"/>
          <p:cNvSpPr>
            <a:spLocks noGrp="1"/>
          </p:cNvSpPr>
          <p:nvPr>
            <p:ph type="dt" sz="half" idx="14"/>
          </p:nvPr>
        </p:nvSpPr>
        <p:spPr>
          <a:xfrm>
            <a:off x="456903" y="6356387"/>
            <a:ext cx="2133700" cy="365125"/>
          </a:xfrm>
          <a:prstGeom prst="rect">
            <a:avLst/>
          </a:prstGeom>
        </p:spPr>
        <p:txBody>
          <a:bodyPr/>
          <a:lstStyle>
            <a:lvl1pPr>
              <a:defRPr>
                <a:solidFill>
                  <a:prstClr val="black"/>
                </a:solidFill>
              </a:defRPr>
            </a:lvl1pPr>
          </a:lstStyle>
          <a:p>
            <a:pPr>
              <a:defRPr/>
            </a:pPr>
            <a:endParaRPr lang="ja-JP" altLang="en-US"/>
          </a:p>
        </p:txBody>
      </p:sp>
      <p:sp>
        <p:nvSpPr>
          <p:cNvPr id="6" name="フッター プレースホルダ 5"/>
          <p:cNvSpPr>
            <a:spLocks noGrp="1"/>
          </p:cNvSpPr>
          <p:nvPr>
            <p:ph type="ftr" sz="quarter" idx="15"/>
          </p:nvPr>
        </p:nvSpPr>
        <p:spPr>
          <a:xfrm>
            <a:off x="3123653" y="6356387"/>
            <a:ext cx="2896695" cy="365125"/>
          </a:xfrm>
          <a:prstGeom prst="rect">
            <a:avLst/>
          </a:prstGeom>
        </p:spPr>
        <p:txBody>
          <a:bodyPr/>
          <a:lstStyle>
            <a:lvl1pPr>
              <a:defRPr>
                <a:solidFill>
                  <a:prstClr val="black"/>
                </a:solidFill>
              </a:defRPr>
            </a:lvl1pPr>
          </a:lstStyle>
          <a:p>
            <a:pPr>
              <a:defRPr/>
            </a:pPr>
            <a:endParaRPr lang="ja-JP" altLang="en-US"/>
          </a:p>
        </p:txBody>
      </p:sp>
      <p:sp>
        <p:nvSpPr>
          <p:cNvPr id="7" name="スライド番号プレースホルダ 6"/>
          <p:cNvSpPr>
            <a:spLocks noGrp="1"/>
          </p:cNvSpPr>
          <p:nvPr>
            <p:ph type="sldNum" sz="quarter" idx="16"/>
          </p:nvPr>
        </p:nvSpPr>
        <p:spPr>
          <a:xfrm>
            <a:off x="6553419" y="6356387"/>
            <a:ext cx="2133699" cy="365125"/>
          </a:xfrm>
          <a:prstGeom prst="rect">
            <a:avLst/>
          </a:prstGeom>
        </p:spPr>
        <p:txBody>
          <a:bodyPr/>
          <a:lstStyle>
            <a:lvl1pPr>
              <a:defRPr>
                <a:solidFill>
                  <a:prstClr val="black"/>
                </a:solidFill>
              </a:defRPr>
            </a:lvl1pPr>
          </a:lstStyle>
          <a:p>
            <a:pPr>
              <a:defRPr/>
            </a:pPr>
            <a:fld id="{BD4BBCED-D5C6-4754-B43B-5CCEEB0A883C}" type="slidenum">
              <a:rPr lang="ja-JP" altLang="en-US" smtClean="0"/>
              <a:pPr>
                <a:defRPr/>
              </a:pPr>
              <a:t>‹#›</a:t>
            </a:fld>
            <a:endParaRPr lang="ja-JP" altLang="en-US"/>
          </a:p>
        </p:txBody>
      </p:sp>
    </p:spTree>
    <p:extLst>
      <p:ext uri="{BB962C8B-B14F-4D97-AF65-F5344CB8AC3E}">
        <p14:creationId xmlns:p14="http://schemas.microsoft.com/office/powerpoint/2010/main" val="2215178787"/>
      </p:ext>
    </p:extLst>
  </p:cSld>
  <p:clrMapOvr>
    <a:masterClrMapping/>
  </p:clrMapOvr>
  <p:transition>
    <p:random/>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フッター プレースホルダー 2"/>
          <p:cNvSpPr>
            <a:spLocks noGrp="1"/>
          </p:cNvSpPr>
          <p:nvPr>
            <p:ph type="ftr" sz="quarter" idx="10"/>
          </p:nvPr>
        </p:nvSpPr>
        <p:spPr>
          <a:xfrm>
            <a:off x="3028953" y="6356357"/>
            <a:ext cx="3086100" cy="365125"/>
          </a:xfrm>
          <a:prstGeom prst="rect">
            <a:avLst/>
          </a:prstGeom>
        </p:spPr>
        <p:txBody>
          <a:bodyPr/>
          <a:lstStyle/>
          <a:p>
            <a:pPr>
              <a:defRPr/>
            </a:pPr>
            <a:endParaRPr lang="en-US" altLang="ja-JP"/>
          </a:p>
        </p:txBody>
      </p:sp>
      <p:sp>
        <p:nvSpPr>
          <p:cNvPr id="4" name="スライド番号プレースホルダー 3"/>
          <p:cNvSpPr>
            <a:spLocks noGrp="1"/>
          </p:cNvSpPr>
          <p:nvPr>
            <p:ph type="sldNum" sz="quarter" idx="11"/>
          </p:nvPr>
        </p:nvSpPr>
        <p:spPr>
          <a:xfrm>
            <a:off x="6457950" y="6356357"/>
            <a:ext cx="2057400" cy="365125"/>
          </a:xfrm>
          <a:prstGeom prst="rect">
            <a:avLst/>
          </a:prstGeom>
        </p:spPr>
        <p:txBody>
          <a:bodyPr/>
          <a:lstStyle/>
          <a:p>
            <a:pPr>
              <a:defRPr/>
            </a:pPr>
            <a:fld id="{FFDCE21E-3BF4-4A13-BE4A-B95BE9787BE2}" type="slidenum">
              <a:rPr lang="en-US" altLang="ja-JP" smtClean="0"/>
              <a:pPr>
                <a:defRPr/>
              </a:pPr>
              <a:t>‹#›</a:t>
            </a:fld>
            <a:endParaRPr lang="en-US" altLang="ja-JP"/>
          </a:p>
        </p:txBody>
      </p:sp>
      <p:sp>
        <p:nvSpPr>
          <p:cNvPr id="5" name="Rectangle 9"/>
          <p:cNvSpPr>
            <a:spLocks noChangeArrowheads="1"/>
          </p:cNvSpPr>
          <p:nvPr userDrawn="1"/>
        </p:nvSpPr>
        <p:spPr bwMode="auto">
          <a:xfrm>
            <a:off x="14346" y="476253"/>
            <a:ext cx="9144003" cy="77790"/>
          </a:xfrm>
          <a:prstGeom prst="rect">
            <a:avLst/>
          </a:prstGeom>
          <a:solidFill>
            <a:srgbClr val="0066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a:p>
        </p:txBody>
      </p:sp>
    </p:spTree>
    <p:extLst>
      <p:ext uri="{BB962C8B-B14F-4D97-AF65-F5344CB8AC3E}">
        <p14:creationId xmlns:p14="http://schemas.microsoft.com/office/powerpoint/2010/main" val="38764258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85053" y="202878"/>
            <a:ext cx="8774310" cy="433196"/>
          </a:xfrm>
        </p:spPr>
        <p:txBody>
          <a:bodyPr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185348" y="6309324"/>
            <a:ext cx="8673897" cy="149143"/>
          </a:xfrm>
          <a:noFill/>
        </p:spPr>
        <p:txBody>
          <a:bodyPr wrap="squar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185350" y="3104969"/>
            <a:ext cx="1715213" cy="284052"/>
          </a:xfrm>
          <a:noFill/>
        </p:spPr>
        <p:txBody>
          <a:bodyPr wrap="none" lIns="0" tIns="0" rIns="0" bIns="0">
            <a:spAutoFit/>
          </a:bodyPr>
          <a:lstStyle>
            <a:lvl1pPr marL="0" indent="0">
              <a:spcBef>
                <a:spcPts val="0"/>
              </a:spcBef>
              <a:spcAft>
                <a:spcPts val="0"/>
              </a:spcAft>
              <a:buNone/>
              <a:defRPr sz="1846">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185051" y="3769295"/>
            <a:ext cx="1194238" cy="198837"/>
          </a:xfrm>
          <a:noFill/>
        </p:spPr>
        <p:txBody>
          <a:bodyPr wrap="none" lIns="0" tIns="0" rIns="0" bIns="0">
            <a:spAutoFit/>
          </a:bodyPr>
          <a:lstStyle>
            <a:lvl1pPr marL="0" indent="0">
              <a:spcBef>
                <a:spcPts val="0"/>
              </a:spcBef>
              <a:spcAft>
                <a:spcPts val="0"/>
              </a:spcAft>
              <a:buNone/>
              <a:defRPr sz="1292">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185051" y="4365108"/>
            <a:ext cx="1021113" cy="149143"/>
          </a:xfrm>
          <a:noFill/>
        </p:spPr>
        <p:txBody>
          <a:bodyPr wrap="non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184639" y="764706"/>
            <a:ext cx="8774723" cy="502161"/>
          </a:xfrm>
          <a:solidFill>
            <a:srgbClr val="99D6EC"/>
          </a:solidFill>
          <a:ln>
            <a:noFill/>
          </a:ln>
        </p:spPr>
        <p:txBody>
          <a:bodyPr vert="horz" wrap="square" lIns="216000" tIns="108000" rIns="216000" bIns="108000" rtlCol="0" anchor="t" anchorCtr="0">
            <a:spAutoFit/>
          </a:bodyPr>
          <a:lstStyle>
            <a:lvl1pPr>
              <a:defRPr lang="ja-JP" altLang="en-US" sz="1846" dirty="0">
                <a:latin typeface="Meiryo UI" panose="020B0604030504040204" pitchFamily="50" charset="-128"/>
                <a:ea typeface="Meiryo UI" panose="020B0604030504040204" pitchFamily="50" charset="-128"/>
                <a:cs typeface="Meiryo UI" panose="020B0604030504040204" pitchFamily="50" charset="-128"/>
              </a:defRPr>
            </a:lvl1pPr>
          </a:lstStyle>
          <a:p>
            <a:pPr marL="237397" lvl="0" indent="-237397">
              <a:spcBef>
                <a:spcPts val="554"/>
              </a:spcBef>
              <a:spcAft>
                <a:spcPts val="554"/>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804603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54" name="タイトル 1"/>
          <p:cNvSpPr>
            <a:spLocks noGrp="1"/>
          </p:cNvSpPr>
          <p:nvPr>
            <p:ph type="title"/>
          </p:nvPr>
        </p:nvSpPr>
        <p:spPr>
          <a:xfrm>
            <a:off x="722315" y="4406918"/>
            <a:ext cx="7772400" cy="1362075"/>
          </a:xfrm>
        </p:spPr>
        <p:txBody>
          <a:bodyPr anchor="t"/>
          <a:lstStyle>
            <a:lvl1pPr algn="l">
              <a:defRPr sz="3207" b="1" cap="all"/>
            </a:lvl1pPr>
          </a:lstStyle>
          <a:p>
            <a:r>
              <a:rPr lang="ja-JP" altLang="en-US"/>
              <a:t>マスタ タイトルの書式設定</a:t>
            </a:r>
          </a:p>
        </p:txBody>
      </p:sp>
      <p:sp>
        <p:nvSpPr>
          <p:cNvPr id="1055" name="テキスト プレースホルダ 2"/>
          <p:cNvSpPr>
            <a:spLocks noGrp="1"/>
          </p:cNvSpPr>
          <p:nvPr>
            <p:ph type="body" idx="1"/>
          </p:nvPr>
        </p:nvSpPr>
        <p:spPr>
          <a:xfrm>
            <a:off x="722315" y="2906713"/>
            <a:ext cx="7772400" cy="1500187"/>
          </a:xfrm>
        </p:spPr>
        <p:txBody>
          <a:bodyPr anchor="b"/>
          <a:lstStyle>
            <a:lvl1pPr marL="0" indent="0">
              <a:buNone/>
              <a:defRPr sz="1603"/>
            </a:lvl1pPr>
            <a:lvl2pPr marL="366484" indent="0">
              <a:buNone/>
              <a:defRPr sz="1443"/>
            </a:lvl2pPr>
            <a:lvl3pPr marL="732967" indent="0">
              <a:buNone/>
              <a:defRPr sz="1282"/>
            </a:lvl3pPr>
            <a:lvl4pPr marL="1099452" indent="0">
              <a:buNone/>
              <a:defRPr sz="1122"/>
            </a:lvl4pPr>
            <a:lvl5pPr marL="1465935" indent="0">
              <a:buNone/>
              <a:defRPr sz="1122"/>
            </a:lvl5pPr>
            <a:lvl6pPr marL="1832419" indent="0">
              <a:buNone/>
              <a:defRPr sz="1122"/>
            </a:lvl6pPr>
            <a:lvl7pPr marL="2198903" indent="0">
              <a:buNone/>
              <a:defRPr sz="1122"/>
            </a:lvl7pPr>
            <a:lvl8pPr marL="2565387" indent="0">
              <a:buNone/>
              <a:defRPr sz="1122"/>
            </a:lvl8pPr>
            <a:lvl9pPr marL="2931871" indent="0">
              <a:buNone/>
              <a:defRPr sz="1122"/>
            </a:lvl9pPr>
          </a:lstStyle>
          <a:p>
            <a:pPr lvl="0"/>
            <a:r>
              <a:rPr lang="ja-JP" altLang="en-US"/>
              <a:t>マスタ テキストの書式設定</a:t>
            </a:r>
          </a:p>
        </p:txBody>
      </p:sp>
      <p:sp>
        <p:nvSpPr>
          <p:cNvPr id="1056"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57"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58" name="Rectangle 6"/>
          <p:cNvSpPr>
            <a:spLocks noGrp="1" noChangeArrowheads="1"/>
          </p:cNvSpPr>
          <p:nvPr>
            <p:ph type="sldNum" sz="quarter" idx="12"/>
          </p:nvPr>
        </p:nvSpPr>
        <p:spPr>
          <a:ln/>
        </p:spPr>
        <p:txBody>
          <a:bodyPr/>
          <a:lstStyle>
            <a:lvl1pPr>
              <a:defRPr/>
            </a:lvl1pPr>
          </a:lstStyle>
          <a:p>
            <a:pPr>
              <a:defRPr/>
            </a:pPr>
            <a:fld id="{44CBEC68-9DEB-4C60-BE8A-801151F82926}"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469470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60" name="タイトル 1"/>
          <p:cNvSpPr>
            <a:spLocks noGrp="1"/>
          </p:cNvSpPr>
          <p:nvPr>
            <p:ph type="title"/>
          </p:nvPr>
        </p:nvSpPr>
        <p:spPr/>
        <p:txBody>
          <a:bodyPr/>
          <a:lstStyle/>
          <a:p>
            <a:r>
              <a:rPr lang="ja-JP" altLang="en-US"/>
              <a:t>マスタ タイトルの書式設定</a:t>
            </a:r>
          </a:p>
        </p:txBody>
      </p:sp>
      <p:sp>
        <p:nvSpPr>
          <p:cNvPr id="1061" name="コンテンツ プレースホルダ 2"/>
          <p:cNvSpPr>
            <a:spLocks noGrp="1"/>
          </p:cNvSpPr>
          <p:nvPr>
            <p:ph sz="half" idx="1"/>
          </p:nvPr>
        </p:nvSpPr>
        <p:spPr>
          <a:xfrm>
            <a:off x="457201" y="1600206"/>
            <a:ext cx="4038600" cy="4525963"/>
          </a:xfrm>
        </p:spPr>
        <p:txBody>
          <a:bodyPr/>
          <a:lstStyle>
            <a:lvl1pPr>
              <a:defRPr sz="2244"/>
            </a:lvl1pPr>
            <a:lvl2pPr>
              <a:defRPr sz="1924"/>
            </a:lvl2pPr>
            <a:lvl3pPr>
              <a:defRPr sz="1603"/>
            </a:lvl3pPr>
            <a:lvl4pPr>
              <a:defRPr sz="1443"/>
            </a:lvl4pPr>
            <a:lvl5pPr>
              <a:defRPr sz="1443"/>
            </a:lvl5pPr>
            <a:lvl6pPr>
              <a:defRPr sz="1443"/>
            </a:lvl6pPr>
            <a:lvl7pPr>
              <a:defRPr sz="1443"/>
            </a:lvl7pPr>
            <a:lvl8pPr>
              <a:defRPr sz="1443"/>
            </a:lvl8pPr>
            <a:lvl9pPr>
              <a:defRPr sz="144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2" name="コンテンツ プレースホルダ 3"/>
          <p:cNvSpPr>
            <a:spLocks noGrp="1"/>
          </p:cNvSpPr>
          <p:nvPr>
            <p:ph sz="half" idx="2"/>
          </p:nvPr>
        </p:nvSpPr>
        <p:spPr>
          <a:xfrm>
            <a:off x="4648200" y="1600206"/>
            <a:ext cx="4038600" cy="4525963"/>
          </a:xfrm>
        </p:spPr>
        <p:txBody>
          <a:bodyPr/>
          <a:lstStyle>
            <a:lvl1pPr>
              <a:defRPr sz="2244"/>
            </a:lvl1pPr>
            <a:lvl2pPr>
              <a:defRPr sz="1924"/>
            </a:lvl2pPr>
            <a:lvl3pPr>
              <a:defRPr sz="1603"/>
            </a:lvl3pPr>
            <a:lvl4pPr>
              <a:defRPr sz="1443"/>
            </a:lvl4pPr>
            <a:lvl5pPr>
              <a:defRPr sz="1443"/>
            </a:lvl5pPr>
            <a:lvl6pPr>
              <a:defRPr sz="1443"/>
            </a:lvl6pPr>
            <a:lvl7pPr>
              <a:defRPr sz="1443"/>
            </a:lvl7pPr>
            <a:lvl8pPr>
              <a:defRPr sz="1443"/>
            </a:lvl8pPr>
            <a:lvl9pPr>
              <a:defRPr sz="144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3"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64"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65" name="Rectangle 6"/>
          <p:cNvSpPr>
            <a:spLocks noGrp="1" noChangeArrowheads="1"/>
          </p:cNvSpPr>
          <p:nvPr>
            <p:ph type="sldNum" sz="quarter" idx="12"/>
          </p:nvPr>
        </p:nvSpPr>
        <p:spPr>
          <a:ln/>
        </p:spPr>
        <p:txBody>
          <a:bodyPr/>
          <a:lstStyle>
            <a:lvl1pPr>
              <a:defRPr/>
            </a:lvl1pPr>
          </a:lstStyle>
          <a:p>
            <a:pPr>
              <a:defRPr/>
            </a:pPr>
            <a:fld id="{710C6BAB-626E-4CB7-840A-8796CC8C138B}"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069473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68" name="タイトル 1"/>
          <p:cNvSpPr>
            <a:spLocks noGrp="1"/>
          </p:cNvSpPr>
          <p:nvPr>
            <p:ph type="title"/>
          </p:nvPr>
        </p:nvSpPr>
        <p:spPr>
          <a:xfrm>
            <a:off x="457201" y="274638"/>
            <a:ext cx="8229600" cy="1143000"/>
          </a:xfrm>
        </p:spPr>
        <p:txBody>
          <a:bodyPr/>
          <a:lstStyle>
            <a:lvl1pPr>
              <a:defRPr/>
            </a:lvl1pPr>
          </a:lstStyle>
          <a:p>
            <a:r>
              <a:rPr lang="ja-JP" altLang="en-US"/>
              <a:t>マスタ タイトルの書式設定</a:t>
            </a:r>
          </a:p>
        </p:txBody>
      </p:sp>
      <p:sp>
        <p:nvSpPr>
          <p:cNvPr id="1069" name="テキスト プレースホルダ 2"/>
          <p:cNvSpPr>
            <a:spLocks noGrp="1"/>
          </p:cNvSpPr>
          <p:nvPr>
            <p:ph type="body" idx="1"/>
          </p:nvPr>
        </p:nvSpPr>
        <p:spPr>
          <a:xfrm>
            <a:off x="457202" y="1535113"/>
            <a:ext cx="4040188" cy="639762"/>
          </a:xfrm>
        </p:spPr>
        <p:txBody>
          <a:bodyPr anchor="b"/>
          <a:lstStyle>
            <a:lvl1pPr marL="0" indent="0">
              <a:buNone/>
              <a:defRPr sz="1924" b="1"/>
            </a:lvl1pPr>
            <a:lvl2pPr marL="366484" indent="0">
              <a:buNone/>
              <a:defRPr sz="1603" b="1"/>
            </a:lvl2pPr>
            <a:lvl3pPr marL="732967" indent="0">
              <a:buNone/>
              <a:defRPr sz="1443" b="1"/>
            </a:lvl3pPr>
            <a:lvl4pPr marL="1099452" indent="0">
              <a:buNone/>
              <a:defRPr sz="1282" b="1"/>
            </a:lvl4pPr>
            <a:lvl5pPr marL="1465935" indent="0">
              <a:buNone/>
              <a:defRPr sz="1282" b="1"/>
            </a:lvl5pPr>
            <a:lvl6pPr marL="1832419" indent="0">
              <a:buNone/>
              <a:defRPr sz="1282" b="1"/>
            </a:lvl6pPr>
            <a:lvl7pPr marL="2198903" indent="0">
              <a:buNone/>
              <a:defRPr sz="1282" b="1"/>
            </a:lvl7pPr>
            <a:lvl8pPr marL="2565387" indent="0">
              <a:buNone/>
              <a:defRPr sz="1282" b="1"/>
            </a:lvl8pPr>
            <a:lvl9pPr marL="2931871" indent="0">
              <a:buNone/>
              <a:defRPr sz="1282" b="1"/>
            </a:lvl9pPr>
          </a:lstStyle>
          <a:p>
            <a:pPr lvl="0"/>
            <a:r>
              <a:rPr lang="ja-JP" altLang="en-US"/>
              <a:t>マスタ テキストの書式設定</a:t>
            </a:r>
          </a:p>
        </p:txBody>
      </p:sp>
      <p:sp>
        <p:nvSpPr>
          <p:cNvPr id="1070" name="コンテンツ プレースホルダ 3"/>
          <p:cNvSpPr>
            <a:spLocks noGrp="1"/>
          </p:cNvSpPr>
          <p:nvPr>
            <p:ph sz="half" idx="2"/>
          </p:nvPr>
        </p:nvSpPr>
        <p:spPr>
          <a:xfrm>
            <a:off x="457202" y="2174875"/>
            <a:ext cx="4040188" cy="3951288"/>
          </a:xfrm>
        </p:spPr>
        <p:txBody>
          <a:bodyPr/>
          <a:lstStyle>
            <a:lvl1pPr>
              <a:defRPr sz="1924"/>
            </a:lvl1pPr>
            <a:lvl2pPr>
              <a:defRPr sz="1603"/>
            </a:lvl2pPr>
            <a:lvl3pPr>
              <a:defRPr sz="1443"/>
            </a:lvl3pPr>
            <a:lvl4pPr>
              <a:defRPr sz="1282"/>
            </a:lvl4pPr>
            <a:lvl5pPr>
              <a:defRPr sz="1282"/>
            </a:lvl5pPr>
            <a:lvl6pPr>
              <a:defRPr sz="1282"/>
            </a:lvl6pPr>
            <a:lvl7pPr>
              <a:defRPr sz="1282"/>
            </a:lvl7pPr>
            <a:lvl8pPr>
              <a:defRPr sz="1282"/>
            </a:lvl8pPr>
            <a:lvl9pPr>
              <a:defRPr sz="128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1" name="テキスト プレースホルダ 4"/>
          <p:cNvSpPr>
            <a:spLocks noGrp="1"/>
          </p:cNvSpPr>
          <p:nvPr>
            <p:ph type="body" sz="quarter" idx="3"/>
          </p:nvPr>
        </p:nvSpPr>
        <p:spPr>
          <a:xfrm>
            <a:off x="4645030" y="1535113"/>
            <a:ext cx="4041775" cy="639762"/>
          </a:xfrm>
        </p:spPr>
        <p:txBody>
          <a:bodyPr anchor="b"/>
          <a:lstStyle>
            <a:lvl1pPr marL="0" indent="0">
              <a:buNone/>
              <a:defRPr sz="1924" b="1"/>
            </a:lvl1pPr>
            <a:lvl2pPr marL="366484" indent="0">
              <a:buNone/>
              <a:defRPr sz="1603" b="1"/>
            </a:lvl2pPr>
            <a:lvl3pPr marL="732967" indent="0">
              <a:buNone/>
              <a:defRPr sz="1443" b="1"/>
            </a:lvl3pPr>
            <a:lvl4pPr marL="1099452" indent="0">
              <a:buNone/>
              <a:defRPr sz="1282" b="1"/>
            </a:lvl4pPr>
            <a:lvl5pPr marL="1465935" indent="0">
              <a:buNone/>
              <a:defRPr sz="1282" b="1"/>
            </a:lvl5pPr>
            <a:lvl6pPr marL="1832419" indent="0">
              <a:buNone/>
              <a:defRPr sz="1282" b="1"/>
            </a:lvl6pPr>
            <a:lvl7pPr marL="2198903" indent="0">
              <a:buNone/>
              <a:defRPr sz="1282" b="1"/>
            </a:lvl7pPr>
            <a:lvl8pPr marL="2565387" indent="0">
              <a:buNone/>
              <a:defRPr sz="1282" b="1"/>
            </a:lvl8pPr>
            <a:lvl9pPr marL="2931871" indent="0">
              <a:buNone/>
              <a:defRPr sz="1282" b="1"/>
            </a:lvl9pPr>
          </a:lstStyle>
          <a:p>
            <a:pPr lvl="0"/>
            <a:r>
              <a:rPr lang="ja-JP" altLang="en-US"/>
              <a:t>マスタ テキストの書式設定</a:t>
            </a:r>
          </a:p>
        </p:txBody>
      </p:sp>
      <p:sp>
        <p:nvSpPr>
          <p:cNvPr id="1072" name="コンテンツ プレースホルダ 5"/>
          <p:cNvSpPr>
            <a:spLocks noGrp="1"/>
          </p:cNvSpPr>
          <p:nvPr>
            <p:ph sz="quarter" idx="4"/>
          </p:nvPr>
        </p:nvSpPr>
        <p:spPr>
          <a:xfrm>
            <a:off x="4645030" y="2174875"/>
            <a:ext cx="4041775" cy="3951288"/>
          </a:xfrm>
        </p:spPr>
        <p:txBody>
          <a:bodyPr/>
          <a:lstStyle>
            <a:lvl1pPr>
              <a:defRPr sz="1924"/>
            </a:lvl1pPr>
            <a:lvl2pPr>
              <a:defRPr sz="1603"/>
            </a:lvl2pPr>
            <a:lvl3pPr>
              <a:defRPr sz="1443"/>
            </a:lvl3pPr>
            <a:lvl4pPr>
              <a:defRPr sz="1282"/>
            </a:lvl4pPr>
            <a:lvl5pPr>
              <a:defRPr sz="1282"/>
            </a:lvl5pPr>
            <a:lvl6pPr>
              <a:defRPr sz="1282"/>
            </a:lvl6pPr>
            <a:lvl7pPr>
              <a:defRPr sz="1282"/>
            </a:lvl7pPr>
            <a:lvl8pPr>
              <a:defRPr sz="1282"/>
            </a:lvl8pPr>
            <a:lvl9pPr>
              <a:defRPr sz="128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3"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74"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75" name="Rectangle 6"/>
          <p:cNvSpPr>
            <a:spLocks noGrp="1" noChangeArrowheads="1"/>
          </p:cNvSpPr>
          <p:nvPr>
            <p:ph type="sldNum" sz="quarter" idx="12"/>
          </p:nvPr>
        </p:nvSpPr>
        <p:spPr>
          <a:ln/>
        </p:spPr>
        <p:txBody>
          <a:bodyPr/>
          <a:lstStyle>
            <a:lvl1pPr>
              <a:defRPr/>
            </a:lvl1pPr>
          </a:lstStyle>
          <a:p>
            <a:pPr>
              <a:defRPr/>
            </a:pPr>
            <a:fld id="{C90D7490-9247-4156-917A-C704A20D420B}"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9710939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78" name="タイトル 1"/>
          <p:cNvSpPr>
            <a:spLocks noGrp="1"/>
          </p:cNvSpPr>
          <p:nvPr>
            <p:ph type="title"/>
          </p:nvPr>
        </p:nvSpPr>
        <p:spPr/>
        <p:txBody>
          <a:bodyPr/>
          <a:lstStyle/>
          <a:p>
            <a:r>
              <a:rPr lang="ja-JP" altLang="en-US"/>
              <a:t>マスタ タイトルの書式設定</a:t>
            </a:r>
          </a:p>
        </p:txBody>
      </p:sp>
      <p:sp>
        <p:nvSpPr>
          <p:cNvPr id="1079"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80"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81" name="Rectangle 6"/>
          <p:cNvSpPr>
            <a:spLocks noGrp="1" noChangeArrowheads="1"/>
          </p:cNvSpPr>
          <p:nvPr>
            <p:ph type="sldNum" sz="quarter" idx="12"/>
          </p:nvPr>
        </p:nvSpPr>
        <p:spPr>
          <a:ln/>
        </p:spPr>
        <p:txBody>
          <a:bodyPr/>
          <a:lstStyle>
            <a:lvl1pPr>
              <a:defRPr/>
            </a:lvl1pPr>
          </a:lstStyle>
          <a:p>
            <a:pPr>
              <a:defRPr/>
            </a:pPr>
            <a:fld id="{7EE2D0A3-2364-42EA-809E-B87D9E48F11C}"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384881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84"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86" name="Rectangle 6"/>
          <p:cNvSpPr>
            <a:spLocks noGrp="1" noChangeArrowheads="1"/>
          </p:cNvSpPr>
          <p:nvPr>
            <p:ph type="sldNum" sz="quarter" idx="12"/>
          </p:nvPr>
        </p:nvSpPr>
        <p:spPr>
          <a:ln/>
        </p:spPr>
        <p:txBody>
          <a:bodyPr/>
          <a:lstStyle>
            <a:lvl1pPr>
              <a:defRPr/>
            </a:lvl1pPr>
          </a:lstStyle>
          <a:p>
            <a:pPr>
              <a:defRPr/>
            </a:pPr>
            <a:fld id="{DC3BD844-ADED-4931-9D1C-7D99ACB61C88}"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110804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89" name="タイトル 1"/>
          <p:cNvSpPr>
            <a:spLocks noGrp="1"/>
          </p:cNvSpPr>
          <p:nvPr>
            <p:ph type="title"/>
          </p:nvPr>
        </p:nvSpPr>
        <p:spPr>
          <a:xfrm>
            <a:off x="457208" y="273050"/>
            <a:ext cx="3008313" cy="1162050"/>
          </a:xfrm>
        </p:spPr>
        <p:txBody>
          <a:bodyPr anchor="b"/>
          <a:lstStyle>
            <a:lvl1pPr algn="l">
              <a:defRPr sz="1603" b="1"/>
            </a:lvl1pPr>
          </a:lstStyle>
          <a:p>
            <a:r>
              <a:rPr lang="ja-JP" altLang="en-US"/>
              <a:t>マスタ タイトルの書式設定</a:t>
            </a:r>
          </a:p>
        </p:txBody>
      </p:sp>
      <p:sp>
        <p:nvSpPr>
          <p:cNvPr id="1090" name="コンテンツ プレースホルダ 2"/>
          <p:cNvSpPr>
            <a:spLocks noGrp="1"/>
          </p:cNvSpPr>
          <p:nvPr>
            <p:ph idx="1"/>
          </p:nvPr>
        </p:nvSpPr>
        <p:spPr>
          <a:xfrm>
            <a:off x="3575052" y="273060"/>
            <a:ext cx="5111750" cy="5853113"/>
          </a:xfrm>
        </p:spPr>
        <p:txBody>
          <a:bodyPr/>
          <a:lstStyle>
            <a:lvl1pPr>
              <a:defRPr sz="2565"/>
            </a:lvl1pPr>
            <a:lvl2pPr>
              <a:defRPr sz="2244"/>
            </a:lvl2pPr>
            <a:lvl3pPr>
              <a:defRPr sz="1924"/>
            </a:lvl3pPr>
            <a:lvl4pPr>
              <a:defRPr sz="1603"/>
            </a:lvl4pPr>
            <a:lvl5pPr>
              <a:defRPr sz="1603"/>
            </a:lvl5pPr>
            <a:lvl6pPr>
              <a:defRPr sz="1603"/>
            </a:lvl6pPr>
            <a:lvl7pPr>
              <a:defRPr sz="1603"/>
            </a:lvl7pPr>
            <a:lvl8pPr>
              <a:defRPr sz="1603"/>
            </a:lvl8pPr>
            <a:lvl9pPr>
              <a:defRPr sz="160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1" name="テキスト プレースホルダ 3"/>
          <p:cNvSpPr>
            <a:spLocks noGrp="1"/>
          </p:cNvSpPr>
          <p:nvPr>
            <p:ph type="body" sz="half" idx="2"/>
          </p:nvPr>
        </p:nvSpPr>
        <p:spPr>
          <a:xfrm>
            <a:off x="457208" y="1435103"/>
            <a:ext cx="3008313" cy="4691063"/>
          </a:xfrm>
        </p:spPr>
        <p:txBody>
          <a:bodyPr/>
          <a:lstStyle>
            <a:lvl1pPr marL="0" indent="0">
              <a:buNone/>
              <a:defRPr sz="1122"/>
            </a:lvl1pPr>
            <a:lvl2pPr marL="366484" indent="0">
              <a:buNone/>
              <a:defRPr sz="962"/>
            </a:lvl2pPr>
            <a:lvl3pPr marL="732967" indent="0">
              <a:buNone/>
              <a:defRPr sz="802"/>
            </a:lvl3pPr>
            <a:lvl4pPr marL="1099452" indent="0">
              <a:buNone/>
              <a:defRPr sz="722"/>
            </a:lvl4pPr>
            <a:lvl5pPr marL="1465935" indent="0">
              <a:buNone/>
              <a:defRPr sz="722"/>
            </a:lvl5pPr>
            <a:lvl6pPr marL="1832419" indent="0">
              <a:buNone/>
              <a:defRPr sz="722"/>
            </a:lvl6pPr>
            <a:lvl7pPr marL="2198903" indent="0">
              <a:buNone/>
              <a:defRPr sz="722"/>
            </a:lvl7pPr>
            <a:lvl8pPr marL="2565387" indent="0">
              <a:buNone/>
              <a:defRPr sz="722"/>
            </a:lvl8pPr>
            <a:lvl9pPr marL="2931871" indent="0">
              <a:buNone/>
              <a:defRPr sz="722"/>
            </a:lvl9pPr>
          </a:lstStyle>
          <a:p>
            <a:pPr lvl="0"/>
            <a:r>
              <a:rPr lang="ja-JP" altLang="en-US"/>
              <a:t>マスタ テキストの書式設定</a:t>
            </a:r>
          </a:p>
        </p:txBody>
      </p:sp>
      <p:sp>
        <p:nvSpPr>
          <p:cNvPr id="1092"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93"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94" name="Rectangle 6"/>
          <p:cNvSpPr>
            <a:spLocks noGrp="1" noChangeArrowheads="1"/>
          </p:cNvSpPr>
          <p:nvPr>
            <p:ph type="sldNum" sz="quarter" idx="12"/>
          </p:nvPr>
        </p:nvSpPr>
        <p:spPr>
          <a:ln/>
        </p:spPr>
        <p:txBody>
          <a:bodyPr/>
          <a:lstStyle>
            <a:lvl1pPr>
              <a:defRPr/>
            </a:lvl1pPr>
          </a:lstStyle>
          <a:p>
            <a:pPr>
              <a:defRPr/>
            </a:pPr>
            <a:fld id="{3B7F6FCD-B9BE-4CA6-B46A-589339282163}"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3863275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97" name="タイトル 1"/>
          <p:cNvSpPr>
            <a:spLocks noGrp="1"/>
          </p:cNvSpPr>
          <p:nvPr>
            <p:ph type="title"/>
          </p:nvPr>
        </p:nvSpPr>
        <p:spPr>
          <a:xfrm>
            <a:off x="1792288" y="4800600"/>
            <a:ext cx="5486400" cy="566738"/>
          </a:xfrm>
        </p:spPr>
        <p:txBody>
          <a:bodyPr anchor="b"/>
          <a:lstStyle>
            <a:lvl1pPr algn="l">
              <a:defRPr sz="1603" b="1"/>
            </a:lvl1pPr>
          </a:lstStyle>
          <a:p>
            <a:r>
              <a:rPr lang="ja-JP" altLang="en-US"/>
              <a:t>マスタ タイトルの書式設定</a:t>
            </a:r>
          </a:p>
        </p:txBody>
      </p:sp>
      <p:sp>
        <p:nvSpPr>
          <p:cNvPr id="1098" name="図プレースホルダ 2"/>
          <p:cNvSpPr>
            <a:spLocks noGrp="1"/>
          </p:cNvSpPr>
          <p:nvPr>
            <p:ph type="pic" idx="1"/>
          </p:nvPr>
        </p:nvSpPr>
        <p:spPr>
          <a:xfrm>
            <a:off x="1792288" y="612775"/>
            <a:ext cx="5486400" cy="4114800"/>
          </a:xfrm>
        </p:spPr>
        <p:txBody>
          <a:bodyPr/>
          <a:lstStyle>
            <a:lvl1pPr marL="0" indent="0">
              <a:buNone/>
              <a:defRPr sz="2565"/>
            </a:lvl1pPr>
            <a:lvl2pPr marL="366484" indent="0">
              <a:buNone/>
              <a:defRPr sz="2244"/>
            </a:lvl2pPr>
            <a:lvl3pPr marL="732967" indent="0">
              <a:buNone/>
              <a:defRPr sz="1924"/>
            </a:lvl3pPr>
            <a:lvl4pPr marL="1099452" indent="0">
              <a:buNone/>
              <a:defRPr sz="1603"/>
            </a:lvl4pPr>
            <a:lvl5pPr marL="1465935" indent="0">
              <a:buNone/>
              <a:defRPr sz="1603"/>
            </a:lvl5pPr>
            <a:lvl6pPr marL="1832419" indent="0">
              <a:buNone/>
              <a:defRPr sz="1603"/>
            </a:lvl6pPr>
            <a:lvl7pPr marL="2198903" indent="0">
              <a:buNone/>
              <a:defRPr sz="1603"/>
            </a:lvl7pPr>
            <a:lvl8pPr marL="2565387" indent="0">
              <a:buNone/>
              <a:defRPr sz="1603"/>
            </a:lvl8pPr>
            <a:lvl9pPr marL="2931871" indent="0">
              <a:buNone/>
              <a:defRPr sz="1603"/>
            </a:lvl9pPr>
          </a:lstStyle>
          <a:p>
            <a:pPr lvl="0"/>
            <a:endParaRPr lang="ja-JP" altLang="en-US" noProof="0"/>
          </a:p>
        </p:txBody>
      </p:sp>
      <p:sp>
        <p:nvSpPr>
          <p:cNvPr id="1099" name="テキスト プレースホルダ 3"/>
          <p:cNvSpPr>
            <a:spLocks noGrp="1"/>
          </p:cNvSpPr>
          <p:nvPr>
            <p:ph type="body" sz="half" idx="2"/>
          </p:nvPr>
        </p:nvSpPr>
        <p:spPr>
          <a:xfrm>
            <a:off x="1792288" y="5367338"/>
            <a:ext cx="5486400" cy="804862"/>
          </a:xfrm>
        </p:spPr>
        <p:txBody>
          <a:bodyPr/>
          <a:lstStyle>
            <a:lvl1pPr marL="0" indent="0">
              <a:buNone/>
              <a:defRPr sz="1122"/>
            </a:lvl1pPr>
            <a:lvl2pPr marL="366484" indent="0">
              <a:buNone/>
              <a:defRPr sz="962"/>
            </a:lvl2pPr>
            <a:lvl3pPr marL="732967" indent="0">
              <a:buNone/>
              <a:defRPr sz="802"/>
            </a:lvl3pPr>
            <a:lvl4pPr marL="1099452" indent="0">
              <a:buNone/>
              <a:defRPr sz="722"/>
            </a:lvl4pPr>
            <a:lvl5pPr marL="1465935" indent="0">
              <a:buNone/>
              <a:defRPr sz="722"/>
            </a:lvl5pPr>
            <a:lvl6pPr marL="1832419" indent="0">
              <a:buNone/>
              <a:defRPr sz="722"/>
            </a:lvl6pPr>
            <a:lvl7pPr marL="2198903" indent="0">
              <a:buNone/>
              <a:defRPr sz="722"/>
            </a:lvl7pPr>
            <a:lvl8pPr marL="2565387" indent="0">
              <a:buNone/>
              <a:defRPr sz="722"/>
            </a:lvl8pPr>
            <a:lvl9pPr marL="2931871" indent="0">
              <a:buNone/>
              <a:defRPr sz="722"/>
            </a:lvl9pPr>
          </a:lstStyle>
          <a:p>
            <a:pPr lvl="0"/>
            <a:r>
              <a:rPr lang="ja-JP" altLang="en-US"/>
              <a:t>マスタ テキストの書式設定</a:t>
            </a:r>
          </a:p>
        </p:txBody>
      </p:sp>
      <p:sp>
        <p:nvSpPr>
          <p:cNvPr id="1100"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101"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102" name="Rectangle 6"/>
          <p:cNvSpPr>
            <a:spLocks noGrp="1" noChangeArrowheads="1"/>
          </p:cNvSpPr>
          <p:nvPr>
            <p:ph type="sldNum" sz="quarter" idx="12"/>
          </p:nvPr>
        </p:nvSpPr>
        <p:spPr>
          <a:ln/>
        </p:spPr>
        <p:txBody>
          <a:bodyPr/>
          <a:lstStyle>
            <a:lvl1pPr>
              <a:defRPr/>
            </a:lvl1pPr>
          </a:lstStyle>
          <a:p>
            <a:pPr>
              <a:defRPr/>
            </a:pPr>
            <a:fld id="{6B223170-CFB2-4A9A-BF43-8D94156EE220}"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731909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image" Target="../media/image5.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3.xml"/><Relationship Id="rId3" Type="http://schemas.openxmlformats.org/officeDocument/2006/relationships/slideLayout" Target="../slideLayouts/slideLayout16.xml"/><Relationship Id="rId21" Type="http://schemas.openxmlformats.org/officeDocument/2006/relationships/image" Target="../media/image8.png"/><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image" Target="../media/image5.wmf"/><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image" Target="../media/image10.png"/><Relationship Id="rId10" Type="http://schemas.openxmlformats.org/officeDocument/2006/relationships/slideLayout" Target="../slideLayouts/slideLayout23.xml"/><Relationship Id="rId19" Type="http://schemas.openxmlformats.org/officeDocument/2006/relationships/oleObject" Target="../embeddings/oleObject2.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E427EF-D41C-CF6D-B24B-DA51799F597B}"/>
              </a:ext>
            </a:extLst>
          </p:cNvPr>
          <p:cNvGraphicFramePr>
            <a:graphicFrameLocks noChangeAspect="1"/>
          </p:cNvGraphicFramePr>
          <p:nvPr userDrawn="1">
            <p:custDataLst>
              <p:tags r:id="rId15"/>
            </p:custDataLst>
            <p:extLst>
              <p:ext uri="{D42A27DB-BD31-4B8C-83A1-F6EECF244321}">
                <p14:modId xmlns:p14="http://schemas.microsoft.com/office/powerpoint/2010/main" val="1517670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639" imgH="639" progId="TCLayout.ActiveDocument.1">
                  <p:embed/>
                </p:oleObj>
              </mc:Choice>
              <mc:Fallback>
                <p:oleObj name="think-cellスライド" r:id="rId16" imgW="639" imgH="639" progId="TCLayout.ActiveDocument.1">
                  <p:embed/>
                  <p:pic>
                    <p:nvPicPr>
                      <p:cNvPr id="4" name="think-cell data - do not delete" hidden="1">
                        <a:extLst>
                          <a:ext uri="{FF2B5EF4-FFF2-40B4-BE49-F238E27FC236}">
                            <a16:creationId xmlns:a16="http://schemas.microsoft.com/office/drawing/2014/main" id="{56E427EF-D41C-CF6D-B24B-DA51799F597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11" name="Picture 9" descr="mlit_top">
            <a:extLst>
              <a:ext uri="{FF2B5EF4-FFF2-40B4-BE49-F238E27FC236}">
                <a16:creationId xmlns:a16="http://schemas.microsoft.com/office/drawing/2014/main" id="{93A99F05-929A-E802-361E-C507138112C3}"/>
              </a:ext>
            </a:extLst>
          </p:cNvPr>
          <p:cNvPicPr>
            <a:picLocks noChangeAspect="1" noChangeArrowheads="1"/>
          </p:cNvPicPr>
          <p:nvPr userDrawn="1"/>
        </p:nvPicPr>
        <p:blipFill>
          <a:blip r:embed="rId18"/>
          <a:srcRect t="26801" b="65286"/>
          <a:stretch>
            <a:fillRect/>
          </a:stretch>
        </p:blipFill>
        <p:spPr>
          <a:xfrm>
            <a:off x="0" y="476250"/>
            <a:ext cx="9144000" cy="69850"/>
          </a:xfrm>
          <a:prstGeom prst="rect">
            <a:avLst/>
          </a:prstGeom>
          <a:noFill/>
          <a:ln>
            <a:noFill/>
          </a:ln>
        </p:spPr>
      </p:pic>
      <p:grpSp>
        <p:nvGrpSpPr>
          <p:cNvPr id="12" name="Group 17">
            <a:extLst>
              <a:ext uri="{FF2B5EF4-FFF2-40B4-BE49-F238E27FC236}">
                <a16:creationId xmlns:a16="http://schemas.microsoft.com/office/drawing/2014/main" id="{88EAC5B7-CA86-6D04-5BA0-970934499D9A}"/>
              </a:ext>
            </a:extLst>
          </p:cNvPr>
          <p:cNvGrpSpPr/>
          <p:nvPr userDrawn="1"/>
        </p:nvGrpSpPr>
        <p:grpSpPr>
          <a:xfrm>
            <a:off x="0" y="2"/>
            <a:ext cx="9144000" cy="504825"/>
            <a:chOff x="0" y="0"/>
            <a:chExt cx="5760" cy="318"/>
          </a:xfrm>
        </p:grpSpPr>
        <p:pic>
          <p:nvPicPr>
            <p:cNvPr id="13" name="Picture 11" descr="mlit_top">
              <a:extLst>
                <a:ext uri="{FF2B5EF4-FFF2-40B4-BE49-F238E27FC236}">
                  <a16:creationId xmlns:a16="http://schemas.microsoft.com/office/drawing/2014/main" id="{04833B29-5130-0B48-E556-4455998AE04F}"/>
                </a:ext>
              </a:extLst>
            </p:cNvPr>
            <p:cNvPicPr>
              <a:picLocks noChangeAspect="1" noChangeArrowheads="1"/>
            </p:cNvPicPr>
            <p:nvPr userDrawn="1"/>
          </p:nvPicPr>
          <p:blipFill>
            <a:blip r:embed="rId19"/>
            <a:srcRect r="66945" b="42805"/>
            <a:stretch>
              <a:fillRect/>
            </a:stretch>
          </p:blipFill>
          <p:spPr>
            <a:xfrm>
              <a:off x="3856" y="0"/>
              <a:ext cx="1904" cy="318"/>
            </a:xfrm>
            <a:prstGeom prst="rect">
              <a:avLst/>
            </a:prstGeom>
            <a:noFill/>
            <a:ln>
              <a:noFill/>
            </a:ln>
          </p:spPr>
        </p:pic>
        <p:pic>
          <p:nvPicPr>
            <p:cNvPr id="14" name="Picture 16" descr="mlit_top">
              <a:extLst>
                <a:ext uri="{FF2B5EF4-FFF2-40B4-BE49-F238E27FC236}">
                  <a16:creationId xmlns:a16="http://schemas.microsoft.com/office/drawing/2014/main" id="{E333B2F4-F09B-D0C6-E454-64744D509F7A}"/>
                </a:ext>
              </a:extLst>
            </p:cNvPr>
            <p:cNvPicPr>
              <a:picLocks noChangeAspect="1" noChangeArrowheads="1"/>
            </p:cNvPicPr>
            <p:nvPr userDrawn="1"/>
          </p:nvPicPr>
          <p:blipFill>
            <a:blip r:embed="rId20"/>
            <a:srcRect l="50000" b="42805"/>
            <a:stretch>
              <a:fillRect/>
            </a:stretch>
          </p:blipFill>
          <p:spPr>
            <a:xfrm>
              <a:off x="1043" y="0"/>
              <a:ext cx="2880" cy="318"/>
            </a:xfrm>
            <a:prstGeom prst="rect">
              <a:avLst/>
            </a:prstGeom>
            <a:noFill/>
            <a:ln>
              <a:noFill/>
            </a:ln>
          </p:spPr>
        </p:pic>
        <p:pic>
          <p:nvPicPr>
            <p:cNvPr id="15" name="Picture 10" descr="mlit_top">
              <a:extLst>
                <a:ext uri="{FF2B5EF4-FFF2-40B4-BE49-F238E27FC236}">
                  <a16:creationId xmlns:a16="http://schemas.microsoft.com/office/drawing/2014/main" id="{8AFEDC7E-8C95-5771-E6BF-B43B616C4984}"/>
                </a:ext>
              </a:extLst>
            </p:cNvPr>
            <p:cNvPicPr>
              <a:picLocks noChangeAspect="1" noChangeArrowheads="1"/>
            </p:cNvPicPr>
            <p:nvPr userDrawn="1"/>
          </p:nvPicPr>
          <p:blipFill>
            <a:blip r:embed="rId20"/>
            <a:srcRect l="68906" b="42805"/>
            <a:stretch>
              <a:fillRect/>
            </a:stretch>
          </p:blipFill>
          <p:spPr>
            <a:xfrm>
              <a:off x="0" y="0"/>
              <a:ext cx="1791" cy="318"/>
            </a:xfrm>
            <a:prstGeom prst="rect">
              <a:avLst/>
            </a:prstGeom>
            <a:noFill/>
            <a:ln>
              <a:noFill/>
            </a:ln>
          </p:spPr>
        </p:pic>
      </p:grpSp>
      <p:sp>
        <p:nvSpPr>
          <p:cNvPr id="1025" name="Rectangle 3"/>
          <p:cNvSpPr>
            <a:spLocks noGrp="1" noChangeArrowheads="1"/>
          </p:cNvSpPr>
          <p:nvPr userDrawn="1">
            <p:ph type="body" idx="1"/>
          </p:nvPr>
        </p:nvSpPr>
        <p:spPr>
          <a:xfrm>
            <a:off x="457201" y="1600206"/>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4"/>
          <p:cNvSpPr>
            <a:spLocks noGrp="1" noChangeArrowheads="1"/>
          </p:cNvSpPr>
          <p:nvPr userDrawn="1">
            <p:ph type="dt" sz="half" idx="2"/>
          </p:nvPr>
        </p:nvSpPr>
        <p:spPr>
          <a:xfrm>
            <a:off x="457201"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122" smtClean="0"/>
            </a:lvl1pPr>
          </a:lstStyle>
          <a:p>
            <a:pPr>
              <a:defRPr/>
            </a:pPr>
            <a:endParaRPr lang="en-US" altLang="ja-JP">
              <a:solidFill>
                <a:srgbClr val="000000"/>
              </a:solidFill>
            </a:endParaRPr>
          </a:p>
        </p:txBody>
      </p:sp>
      <p:sp>
        <p:nvSpPr>
          <p:cNvPr id="1027" name="Rectangle 5"/>
          <p:cNvSpPr>
            <a:spLocks noGrp="1" noChangeArrowheads="1"/>
          </p:cNvSpPr>
          <p:nvPr userDrawn="1">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122" smtClean="0"/>
            </a:lvl1pPr>
          </a:lstStyle>
          <a:p>
            <a:pPr>
              <a:defRPr/>
            </a:pPr>
            <a:endParaRPr lang="en-US" altLang="ja-JP">
              <a:solidFill>
                <a:srgbClr val="000000"/>
              </a:solidFill>
            </a:endParaRPr>
          </a:p>
        </p:txBody>
      </p:sp>
      <p:sp>
        <p:nvSpPr>
          <p:cNvPr id="1028" name="Rectangle 6"/>
          <p:cNvSpPr>
            <a:spLocks noGrp="1" noChangeArrowheads="1"/>
          </p:cNvSpPr>
          <p:nvPr userDrawn="1">
            <p:ph type="sldNum" sz="quarter" idx="4"/>
          </p:nvPr>
        </p:nvSpPr>
        <p:spPr>
          <a:xfrm>
            <a:off x="7010401" y="6237288"/>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122" smtClean="0"/>
            </a:lvl1pPr>
          </a:lstStyle>
          <a:p>
            <a:pPr>
              <a:defRPr/>
            </a:pPr>
            <a:fld id="{F2E6CC7F-0DBF-4D79-A2FB-E9980C3BFED0}" type="slidenum">
              <a:rPr lang="en-US" altLang="ja-JP">
                <a:solidFill>
                  <a:srgbClr val="000000"/>
                </a:solidFill>
              </a:rPr>
              <a:pPr>
                <a:defRPr/>
              </a:pPr>
              <a:t>‹#›</a:t>
            </a:fld>
            <a:endParaRPr lang="en-US" altLang="ja-JP">
              <a:solidFill>
                <a:srgbClr val="000000"/>
              </a:solidFill>
            </a:endParaRPr>
          </a:p>
        </p:txBody>
      </p:sp>
      <p:sp>
        <p:nvSpPr>
          <p:cNvPr id="1035" name="Rectangle 2"/>
          <p:cNvSpPr>
            <a:spLocks noGrp="1" noChangeArrowheads="1"/>
          </p:cNvSpPr>
          <p:nvPr userDrawn="1">
            <p:ph type="title"/>
          </p:nvPr>
        </p:nvSpPr>
        <p:spPr>
          <a:xfrm>
            <a:off x="9" y="0"/>
            <a:ext cx="7019925"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2" name="Picture 14">
            <a:extLst>
              <a:ext uri="{FF2B5EF4-FFF2-40B4-BE49-F238E27FC236}">
                <a16:creationId xmlns:a16="http://schemas.microsoft.com/office/drawing/2014/main" id="{6696534F-0C30-3536-D015-CA7A3407B395}"/>
              </a:ext>
            </a:extLst>
          </p:cNvPr>
          <p:cNvPicPr>
            <a:picLocks noChangeAspect="1" noChangeArrowheads="1"/>
          </p:cNvPicPr>
          <p:nvPr userDrawn="1"/>
        </p:nvPicPr>
        <p:blipFill>
          <a:blip r:embed="rId21" cstate="print">
            <a:extLst>
              <a:ext uri="{28A0092B-C50C-407E-A947-70E740481C1C}">
                <a14:useLocalDpi xmlns:a14="http://schemas.microsoft.com/office/drawing/2010/main"/>
              </a:ext>
            </a:extLst>
          </a:blip>
          <a:srcRect t="3670"/>
          <a:stretch>
            <a:fillRect/>
          </a:stretch>
        </p:blipFill>
        <p:spPr bwMode="auto">
          <a:xfrm>
            <a:off x="7593015" y="4"/>
            <a:ext cx="1550987"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3665732"/>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Lst>
  <p:hf hdr="0" ftr="0" dt="0"/>
  <p:txStyles>
    <p:titleStyle>
      <a:lvl1pPr algn="l" rtl="0" eaLnBrk="0" fontAlgn="base" hangingPunct="0">
        <a:spcBef>
          <a:spcPct val="0"/>
        </a:spcBef>
        <a:spcAft>
          <a:spcPct val="0"/>
        </a:spcAft>
        <a:defRPr kumimoji="1" sz="2244">
          <a:solidFill>
            <a:srgbClr val="4087C8"/>
          </a:solidFill>
          <a:latin typeface="+mj-lt"/>
          <a:ea typeface="+mj-ea"/>
          <a:cs typeface="+mj-cs"/>
        </a:defRPr>
      </a:lvl1pPr>
      <a:lvl2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5pPr>
      <a:lvl6pPr marL="366484"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6pPr>
      <a:lvl7pPr marL="732967"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7pPr>
      <a:lvl8pPr marL="1099452"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8pPr>
      <a:lvl9pPr marL="1465935"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9pPr>
    </p:titleStyle>
    <p:bodyStyle>
      <a:lvl1pPr marL="274863" indent="-274863" algn="l" rtl="0" eaLnBrk="0" fontAlgn="base" hangingPunct="0">
        <a:spcBef>
          <a:spcPct val="20000"/>
        </a:spcBef>
        <a:spcAft>
          <a:spcPct val="0"/>
        </a:spcAft>
        <a:buChar char="•"/>
        <a:defRPr kumimoji="1" sz="2565">
          <a:solidFill>
            <a:schemeClr val="tx1"/>
          </a:solidFill>
          <a:latin typeface="+mn-lt"/>
          <a:ea typeface="+mn-ea"/>
          <a:cs typeface="+mn-cs"/>
        </a:defRPr>
      </a:lvl1pPr>
      <a:lvl2pPr marL="595536" indent="-229052" algn="l" rtl="0" eaLnBrk="0" fontAlgn="base" hangingPunct="0">
        <a:spcBef>
          <a:spcPct val="20000"/>
        </a:spcBef>
        <a:spcAft>
          <a:spcPct val="0"/>
        </a:spcAft>
        <a:buChar char="–"/>
        <a:defRPr kumimoji="1" sz="2244">
          <a:solidFill>
            <a:schemeClr val="tx1"/>
          </a:solidFill>
          <a:latin typeface="+mn-lt"/>
          <a:ea typeface="+mn-ea"/>
        </a:defRPr>
      </a:lvl2pPr>
      <a:lvl3pPr marL="916210" indent="-183242" algn="l" rtl="0" eaLnBrk="0" fontAlgn="base" hangingPunct="0">
        <a:spcBef>
          <a:spcPct val="20000"/>
        </a:spcBef>
        <a:spcAft>
          <a:spcPct val="0"/>
        </a:spcAft>
        <a:buChar char="•"/>
        <a:defRPr kumimoji="1" sz="1924">
          <a:solidFill>
            <a:schemeClr val="tx1"/>
          </a:solidFill>
          <a:latin typeface="+mn-lt"/>
          <a:ea typeface="+mn-ea"/>
        </a:defRPr>
      </a:lvl3pPr>
      <a:lvl4pPr marL="1282694" indent="-183242" algn="l" rtl="0" eaLnBrk="0" fontAlgn="base" hangingPunct="0">
        <a:spcBef>
          <a:spcPct val="20000"/>
        </a:spcBef>
        <a:spcAft>
          <a:spcPct val="0"/>
        </a:spcAft>
        <a:buChar char="–"/>
        <a:defRPr kumimoji="1" sz="1603">
          <a:solidFill>
            <a:schemeClr val="tx1"/>
          </a:solidFill>
          <a:latin typeface="+mn-lt"/>
          <a:ea typeface="+mn-ea"/>
        </a:defRPr>
      </a:lvl4pPr>
      <a:lvl5pPr marL="1649177" indent="-183242" algn="l" rtl="0" eaLnBrk="0" fontAlgn="base" hangingPunct="0">
        <a:spcBef>
          <a:spcPct val="20000"/>
        </a:spcBef>
        <a:spcAft>
          <a:spcPct val="0"/>
        </a:spcAft>
        <a:buChar char="»"/>
        <a:defRPr kumimoji="1" sz="1603">
          <a:solidFill>
            <a:schemeClr val="tx1"/>
          </a:solidFill>
          <a:latin typeface="+mn-lt"/>
          <a:ea typeface="+mn-ea"/>
        </a:defRPr>
      </a:lvl5pPr>
      <a:lvl6pPr marL="2015661" indent="-183242" algn="l" rtl="0" fontAlgn="base">
        <a:spcBef>
          <a:spcPct val="20000"/>
        </a:spcBef>
        <a:spcAft>
          <a:spcPct val="0"/>
        </a:spcAft>
        <a:buChar char="»"/>
        <a:defRPr kumimoji="1" sz="1603">
          <a:solidFill>
            <a:schemeClr val="tx1"/>
          </a:solidFill>
          <a:latin typeface="+mn-lt"/>
          <a:ea typeface="+mn-ea"/>
        </a:defRPr>
      </a:lvl6pPr>
      <a:lvl7pPr marL="2382145" indent="-183242" algn="l" rtl="0" fontAlgn="base">
        <a:spcBef>
          <a:spcPct val="20000"/>
        </a:spcBef>
        <a:spcAft>
          <a:spcPct val="0"/>
        </a:spcAft>
        <a:buChar char="»"/>
        <a:defRPr kumimoji="1" sz="1603">
          <a:solidFill>
            <a:schemeClr val="tx1"/>
          </a:solidFill>
          <a:latin typeface="+mn-lt"/>
          <a:ea typeface="+mn-ea"/>
        </a:defRPr>
      </a:lvl7pPr>
      <a:lvl8pPr marL="2748629" indent="-183242" algn="l" rtl="0" fontAlgn="base">
        <a:spcBef>
          <a:spcPct val="20000"/>
        </a:spcBef>
        <a:spcAft>
          <a:spcPct val="0"/>
        </a:spcAft>
        <a:buChar char="»"/>
        <a:defRPr kumimoji="1" sz="1603">
          <a:solidFill>
            <a:schemeClr val="tx1"/>
          </a:solidFill>
          <a:latin typeface="+mn-lt"/>
          <a:ea typeface="+mn-ea"/>
        </a:defRPr>
      </a:lvl8pPr>
      <a:lvl9pPr marL="3115113" indent="-183242" algn="l" rtl="0" fontAlgn="base">
        <a:spcBef>
          <a:spcPct val="20000"/>
        </a:spcBef>
        <a:spcAft>
          <a:spcPct val="0"/>
        </a:spcAft>
        <a:buChar char="»"/>
        <a:defRPr kumimoji="1" sz="1603">
          <a:solidFill>
            <a:schemeClr val="tx1"/>
          </a:solidFill>
          <a:latin typeface="+mn-lt"/>
          <a:ea typeface="+mn-ea"/>
        </a:defRPr>
      </a:lvl9pPr>
    </p:bodyStyle>
    <p:otherStyle>
      <a:defPPr>
        <a:defRPr lang="ja-JP"/>
      </a:defPPr>
      <a:lvl1pPr marL="0" algn="l" defTabSz="732967" rtl="0" eaLnBrk="1" latinLnBrk="0" hangingPunct="1">
        <a:defRPr kumimoji="1" sz="1443" kern="1200">
          <a:solidFill>
            <a:schemeClr val="tx1"/>
          </a:solidFill>
          <a:latin typeface="+mn-lt"/>
          <a:ea typeface="+mn-ea"/>
          <a:cs typeface="+mn-cs"/>
        </a:defRPr>
      </a:lvl1pPr>
      <a:lvl2pPr marL="366484" algn="l" defTabSz="732967" rtl="0" eaLnBrk="1" latinLnBrk="0" hangingPunct="1">
        <a:defRPr kumimoji="1" sz="1443" kern="1200">
          <a:solidFill>
            <a:schemeClr val="tx1"/>
          </a:solidFill>
          <a:latin typeface="+mn-lt"/>
          <a:ea typeface="+mn-ea"/>
          <a:cs typeface="+mn-cs"/>
        </a:defRPr>
      </a:lvl2pPr>
      <a:lvl3pPr marL="732967" algn="l" defTabSz="732967" rtl="0" eaLnBrk="1" latinLnBrk="0" hangingPunct="1">
        <a:defRPr kumimoji="1" sz="1443" kern="1200">
          <a:solidFill>
            <a:schemeClr val="tx1"/>
          </a:solidFill>
          <a:latin typeface="+mn-lt"/>
          <a:ea typeface="+mn-ea"/>
          <a:cs typeface="+mn-cs"/>
        </a:defRPr>
      </a:lvl3pPr>
      <a:lvl4pPr marL="1099452" algn="l" defTabSz="732967" rtl="0" eaLnBrk="1" latinLnBrk="0" hangingPunct="1">
        <a:defRPr kumimoji="1" sz="1443" kern="1200">
          <a:solidFill>
            <a:schemeClr val="tx1"/>
          </a:solidFill>
          <a:latin typeface="+mn-lt"/>
          <a:ea typeface="+mn-ea"/>
          <a:cs typeface="+mn-cs"/>
        </a:defRPr>
      </a:lvl4pPr>
      <a:lvl5pPr marL="1465935" algn="l" defTabSz="732967" rtl="0" eaLnBrk="1" latinLnBrk="0" hangingPunct="1">
        <a:defRPr kumimoji="1" sz="1443" kern="1200">
          <a:solidFill>
            <a:schemeClr val="tx1"/>
          </a:solidFill>
          <a:latin typeface="+mn-lt"/>
          <a:ea typeface="+mn-ea"/>
          <a:cs typeface="+mn-cs"/>
        </a:defRPr>
      </a:lvl5pPr>
      <a:lvl6pPr marL="1832419" algn="l" defTabSz="732967" rtl="0" eaLnBrk="1" latinLnBrk="0" hangingPunct="1">
        <a:defRPr kumimoji="1" sz="1443" kern="1200">
          <a:solidFill>
            <a:schemeClr val="tx1"/>
          </a:solidFill>
          <a:latin typeface="+mn-lt"/>
          <a:ea typeface="+mn-ea"/>
          <a:cs typeface="+mn-cs"/>
        </a:defRPr>
      </a:lvl6pPr>
      <a:lvl7pPr marL="2198903" algn="l" defTabSz="732967" rtl="0" eaLnBrk="1" latinLnBrk="0" hangingPunct="1">
        <a:defRPr kumimoji="1" sz="1443" kern="1200">
          <a:solidFill>
            <a:schemeClr val="tx1"/>
          </a:solidFill>
          <a:latin typeface="+mn-lt"/>
          <a:ea typeface="+mn-ea"/>
          <a:cs typeface="+mn-cs"/>
        </a:defRPr>
      </a:lvl7pPr>
      <a:lvl8pPr marL="2565387" algn="l" defTabSz="732967" rtl="0" eaLnBrk="1" latinLnBrk="0" hangingPunct="1">
        <a:defRPr kumimoji="1" sz="1443" kern="1200">
          <a:solidFill>
            <a:schemeClr val="tx1"/>
          </a:solidFill>
          <a:latin typeface="+mn-lt"/>
          <a:ea typeface="+mn-ea"/>
          <a:cs typeface="+mn-cs"/>
        </a:defRPr>
      </a:lvl8pPr>
      <a:lvl9pPr marL="2931871" algn="l" defTabSz="732967" rtl="0" eaLnBrk="1" latinLnBrk="0" hangingPunct="1">
        <a:defRPr kumimoji="1" sz="144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7D19EE-9432-2CFD-0FF0-19345E6EE160}"/>
              </a:ext>
            </a:extLst>
          </p:cNvPr>
          <p:cNvGraphicFramePr>
            <a:graphicFrameLocks noChangeAspect="1"/>
          </p:cNvGraphicFramePr>
          <p:nvPr userDrawn="1">
            <p:custDataLst>
              <p:tags r:id="rId18"/>
            </p:custDataLst>
            <p:extLst>
              <p:ext uri="{D42A27DB-BD31-4B8C-83A1-F6EECF244321}">
                <p14:modId xmlns:p14="http://schemas.microsoft.com/office/powerpoint/2010/main" val="3031999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9" imgW="639" imgH="639" progId="TCLayout.ActiveDocument.1">
                  <p:embed/>
                </p:oleObj>
              </mc:Choice>
              <mc:Fallback>
                <p:oleObj name="think-cellスライド" r:id="rId19" imgW="639" imgH="639" progId="TCLayout.ActiveDocument.1">
                  <p:embed/>
                  <p:pic>
                    <p:nvPicPr>
                      <p:cNvPr id="5" name="think-cell data - do not delete" hidden="1">
                        <a:extLst>
                          <a:ext uri="{FF2B5EF4-FFF2-40B4-BE49-F238E27FC236}">
                            <a16:creationId xmlns:a16="http://schemas.microsoft.com/office/drawing/2014/main" id="{D57D19EE-9432-2CFD-0FF0-19345E6EE16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26" name="Rectangle 3"/>
          <p:cNvSpPr>
            <a:spLocks noGrp="1" noChangeArrowheads="1"/>
          </p:cNvSpPr>
          <p:nvPr>
            <p:ph type="body" idx="1"/>
          </p:nvPr>
        </p:nvSpPr>
        <p:spPr bwMode="auto">
          <a:xfrm>
            <a:off x="457200" y="1600207"/>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grpSp>
        <p:nvGrpSpPr>
          <p:cNvPr id="2" name="Group 18"/>
          <p:cNvGrpSpPr>
            <a:grpSpLocks/>
          </p:cNvGrpSpPr>
          <p:nvPr/>
        </p:nvGrpSpPr>
        <p:grpSpPr bwMode="auto">
          <a:xfrm>
            <a:off x="0" y="0"/>
            <a:ext cx="9144000" cy="546100"/>
            <a:chOff x="0" y="0"/>
            <a:chExt cx="5760" cy="344"/>
          </a:xfrm>
        </p:grpSpPr>
        <p:pic>
          <p:nvPicPr>
            <p:cNvPr id="1030" name="Picture 9" descr="mlit_top"/>
            <p:cNvPicPr>
              <a:picLocks noChangeAspect="1" noChangeArrowheads="1"/>
            </p:cNvPicPr>
            <p:nvPr userDrawn="1"/>
          </p:nvPicPr>
          <p:blipFill>
            <a:blip r:embed="rId21" cstate="screen"/>
            <a:srcRect t="26801" b="65286"/>
            <a:stretch>
              <a:fillRect/>
            </a:stretch>
          </p:blipFill>
          <p:spPr bwMode="auto">
            <a:xfrm>
              <a:off x="0" y="300"/>
              <a:ext cx="5760" cy="44"/>
            </a:xfrm>
            <a:prstGeom prst="rect">
              <a:avLst/>
            </a:prstGeom>
            <a:noFill/>
            <a:ln w="9525">
              <a:noFill/>
              <a:miter lim="800000"/>
              <a:headEnd/>
              <a:tailEnd/>
            </a:ln>
          </p:spPr>
        </p:pic>
        <p:grpSp>
          <p:nvGrpSpPr>
            <p:cNvPr id="3" name="Group 17"/>
            <p:cNvGrpSpPr>
              <a:grpSpLocks/>
            </p:cNvGrpSpPr>
            <p:nvPr userDrawn="1"/>
          </p:nvGrpSpPr>
          <p:grpSpPr bwMode="auto">
            <a:xfrm>
              <a:off x="0" y="0"/>
              <a:ext cx="5760" cy="318"/>
              <a:chOff x="0" y="0"/>
              <a:chExt cx="5760" cy="318"/>
            </a:xfrm>
          </p:grpSpPr>
          <p:pic>
            <p:nvPicPr>
              <p:cNvPr id="1032" name="Picture 11" descr="mlit_top"/>
              <p:cNvPicPr>
                <a:picLocks noChangeAspect="1" noChangeArrowheads="1"/>
              </p:cNvPicPr>
              <p:nvPr userDrawn="1"/>
            </p:nvPicPr>
            <p:blipFill>
              <a:blip r:embed="rId22" cstate="screen"/>
              <a:srcRect r="66945" b="42805"/>
              <a:stretch>
                <a:fillRect/>
              </a:stretch>
            </p:blipFill>
            <p:spPr bwMode="auto">
              <a:xfrm>
                <a:off x="3856" y="0"/>
                <a:ext cx="1904" cy="318"/>
              </a:xfrm>
              <a:prstGeom prst="rect">
                <a:avLst/>
              </a:prstGeom>
              <a:noFill/>
              <a:ln w="9525">
                <a:noFill/>
                <a:miter lim="800000"/>
                <a:headEnd/>
                <a:tailEnd/>
              </a:ln>
            </p:spPr>
          </p:pic>
          <p:pic>
            <p:nvPicPr>
              <p:cNvPr id="1033" name="Picture 16" descr="mlit_top"/>
              <p:cNvPicPr>
                <a:picLocks noChangeAspect="1" noChangeArrowheads="1"/>
              </p:cNvPicPr>
              <p:nvPr userDrawn="1"/>
            </p:nvPicPr>
            <p:blipFill>
              <a:blip r:embed="rId23" cstate="screen"/>
              <a:srcRect l="50000" b="42805"/>
              <a:stretch>
                <a:fillRect/>
              </a:stretch>
            </p:blipFill>
            <p:spPr bwMode="auto">
              <a:xfrm>
                <a:off x="1043" y="0"/>
                <a:ext cx="2880" cy="318"/>
              </a:xfrm>
              <a:prstGeom prst="rect">
                <a:avLst/>
              </a:prstGeom>
              <a:noFill/>
              <a:ln w="9525">
                <a:noFill/>
                <a:miter lim="800000"/>
                <a:headEnd/>
                <a:tailEnd/>
              </a:ln>
            </p:spPr>
          </p:pic>
          <p:pic>
            <p:nvPicPr>
              <p:cNvPr id="1034" name="Picture 10" descr="mlit_top"/>
              <p:cNvPicPr>
                <a:picLocks noChangeAspect="1" noChangeArrowheads="1"/>
              </p:cNvPicPr>
              <p:nvPr userDrawn="1"/>
            </p:nvPicPr>
            <p:blipFill>
              <a:blip r:embed="rId23" cstate="screen"/>
              <a:srcRect l="68906" b="42805"/>
              <a:stretch>
                <a:fillRect/>
              </a:stretch>
            </p:blipFill>
            <p:spPr bwMode="auto">
              <a:xfrm>
                <a:off x="0" y="0"/>
                <a:ext cx="1791" cy="318"/>
              </a:xfrm>
              <a:prstGeom prst="rect">
                <a:avLst/>
              </a:prstGeom>
              <a:noFill/>
              <a:ln w="9525">
                <a:noFill/>
                <a:miter lim="800000"/>
                <a:headEnd/>
                <a:tailEnd/>
              </a:ln>
            </p:spPr>
          </p:pic>
        </p:grpSp>
      </p:grpSp>
      <p:sp>
        <p:nvSpPr>
          <p:cNvPr id="1028" name="Rectangle 2"/>
          <p:cNvSpPr>
            <a:spLocks noGrp="1" noChangeArrowheads="1"/>
          </p:cNvSpPr>
          <p:nvPr>
            <p:ph type="title"/>
          </p:nvPr>
        </p:nvSpPr>
        <p:spPr bwMode="auto">
          <a:xfrm>
            <a:off x="4" y="0"/>
            <a:ext cx="7020657"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29" name="Picture 14"/>
          <p:cNvPicPr>
            <a:picLocks noChangeAspect="1" noChangeArrowheads="1"/>
          </p:cNvPicPr>
          <p:nvPr/>
        </p:nvPicPr>
        <p:blipFill>
          <a:blip r:embed="rId24" cstate="screen"/>
          <a:srcRect t="3670"/>
          <a:stretch>
            <a:fillRect/>
          </a:stretch>
        </p:blipFill>
        <p:spPr bwMode="auto">
          <a:xfrm>
            <a:off x="7593657" y="13"/>
            <a:ext cx="1550377" cy="333375"/>
          </a:xfrm>
          <a:prstGeom prst="rect">
            <a:avLst/>
          </a:prstGeom>
          <a:noFill/>
          <a:ln w="9525">
            <a:noFill/>
            <a:miter lim="800000"/>
            <a:headEnd/>
            <a:tailEnd/>
          </a:ln>
        </p:spPr>
      </p:pic>
    </p:spTree>
    <p:extLst>
      <p:ext uri="{BB962C8B-B14F-4D97-AF65-F5344CB8AC3E}">
        <p14:creationId xmlns:p14="http://schemas.microsoft.com/office/powerpoint/2010/main" val="3640667945"/>
      </p:ext>
    </p:extLst>
  </p:cSld>
  <p:clrMap bg1="lt1" tx1="dk1" bg2="lt2" tx2="dk2" accent1="accent1" accent2="accent2" accent3="accent3" accent4="accent4" accent5="accent5" accent6="accent6" hlink="hlink" folHlink="folHlink"/>
  <p:sldLayoutIdLst>
    <p:sldLayoutId id="2147484165" r:id="rId1"/>
    <p:sldLayoutId id="2147484166" r:id="rId2"/>
    <p:sldLayoutId id="2147484167" r:id="rId3"/>
    <p:sldLayoutId id="2147484168" r:id="rId4"/>
    <p:sldLayoutId id="2147484169" r:id="rId5"/>
    <p:sldLayoutId id="2147484170" r:id="rId6"/>
    <p:sldLayoutId id="2147484171" r:id="rId7"/>
    <p:sldLayoutId id="2147484172" r:id="rId8"/>
    <p:sldLayoutId id="2147484173" r:id="rId9"/>
    <p:sldLayoutId id="2147484174" r:id="rId10"/>
    <p:sldLayoutId id="2147484175" r:id="rId11"/>
    <p:sldLayoutId id="2147484176" r:id="rId12"/>
    <p:sldLayoutId id="2147484177" r:id="rId13"/>
    <p:sldLayoutId id="2147484178" r:id="rId14"/>
    <p:sldLayoutId id="2147484179" r:id="rId15"/>
    <p:sldLayoutId id="2147484180" r:id="rId16"/>
  </p:sldLayoutIdLst>
  <p:hf hdr="0" ftr="0" dt="0"/>
  <p:txStyles>
    <p:titleStyle>
      <a:lvl1pPr algn="l" rtl="0" eaLnBrk="1" fontAlgn="base" hangingPunct="1">
        <a:spcBef>
          <a:spcPct val="0"/>
        </a:spcBef>
        <a:spcAft>
          <a:spcPct val="0"/>
        </a:spcAft>
        <a:defRPr kumimoji="1" sz="2776">
          <a:solidFill>
            <a:srgbClr val="4087C8"/>
          </a:solidFill>
          <a:latin typeface="+mj-lt"/>
          <a:ea typeface="+mj-ea"/>
          <a:cs typeface="+mj-cs"/>
        </a:defRPr>
      </a:lvl1pPr>
      <a:lvl2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5pPr>
      <a:lvl6pPr marL="453072"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6pPr>
      <a:lvl7pPr marL="906146"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7pPr>
      <a:lvl8pPr marL="1359218"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8pPr>
      <a:lvl9pPr marL="1812290"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9pPr>
    </p:titleStyle>
    <p:bodyStyle>
      <a:lvl1pPr marL="339805" indent="-339805" algn="l" rtl="0" eaLnBrk="1" fontAlgn="base" hangingPunct="1">
        <a:spcBef>
          <a:spcPct val="20000"/>
        </a:spcBef>
        <a:spcAft>
          <a:spcPct val="0"/>
        </a:spcAft>
        <a:buChar char="•"/>
        <a:defRPr kumimoji="1" sz="3171">
          <a:solidFill>
            <a:schemeClr val="tx1"/>
          </a:solidFill>
          <a:latin typeface="+mn-lt"/>
          <a:ea typeface="+mn-ea"/>
          <a:cs typeface="+mn-cs"/>
        </a:defRPr>
      </a:lvl1pPr>
      <a:lvl2pPr marL="736242" indent="-283170" algn="l" rtl="0" eaLnBrk="1" fontAlgn="base" hangingPunct="1">
        <a:spcBef>
          <a:spcPct val="20000"/>
        </a:spcBef>
        <a:spcAft>
          <a:spcPct val="0"/>
        </a:spcAft>
        <a:buChar char="–"/>
        <a:defRPr kumimoji="1" sz="2776">
          <a:solidFill>
            <a:schemeClr val="tx1"/>
          </a:solidFill>
          <a:latin typeface="+mn-lt"/>
          <a:ea typeface="+mn-ea"/>
        </a:defRPr>
      </a:lvl2pPr>
      <a:lvl3pPr marL="1132682" indent="-226536" algn="l" rtl="0" eaLnBrk="1" fontAlgn="base" hangingPunct="1">
        <a:spcBef>
          <a:spcPct val="20000"/>
        </a:spcBef>
        <a:spcAft>
          <a:spcPct val="0"/>
        </a:spcAft>
        <a:buChar char="•"/>
        <a:defRPr kumimoji="1" sz="2379">
          <a:solidFill>
            <a:schemeClr val="tx1"/>
          </a:solidFill>
          <a:latin typeface="+mn-lt"/>
          <a:ea typeface="+mn-ea"/>
        </a:defRPr>
      </a:lvl3pPr>
      <a:lvl4pPr marL="1585755" indent="-226536" algn="l" rtl="0" eaLnBrk="1" fontAlgn="base" hangingPunct="1">
        <a:spcBef>
          <a:spcPct val="20000"/>
        </a:spcBef>
        <a:spcAft>
          <a:spcPct val="0"/>
        </a:spcAft>
        <a:buChar char="–"/>
        <a:defRPr kumimoji="1" sz="1982">
          <a:solidFill>
            <a:schemeClr val="tx1"/>
          </a:solidFill>
          <a:latin typeface="+mn-lt"/>
          <a:ea typeface="+mn-ea"/>
        </a:defRPr>
      </a:lvl4pPr>
      <a:lvl5pPr marL="2038828" indent="-226536" algn="l" rtl="0" eaLnBrk="1" fontAlgn="base" hangingPunct="1">
        <a:spcBef>
          <a:spcPct val="20000"/>
        </a:spcBef>
        <a:spcAft>
          <a:spcPct val="0"/>
        </a:spcAft>
        <a:buChar char="»"/>
        <a:defRPr kumimoji="1" sz="1982">
          <a:solidFill>
            <a:schemeClr val="tx1"/>
          </a:solidFill>
          <a:latin typeface="+mn-lt"/>
          <a:ea typeface="+mn-ea"/>
        </a:defRPr>
      </a:lvl5pPr>
      <a:lvl6pPr marL="2491899" indent="-226536" algn="l" rtl="0" eaLnBrk="1" fontAlgn="base" hangingPunct="1">
        <a:spcBef>
          <a:spcPct val="20000"/>
        </a:spcBef>
        <a:spcAft>
          <a:spcPct val="0"/>
        </a:spcAft>
        <a:buChar char="»"/>
        <a:defRPr kumimoji="1" sz="1982">
          <a:solidFill>
            <a:schemeClr val="tx1"/>
          </a:solidFill>
          <a:latin typeface="+mn-lt"/>
          <a:ea typeface="+mn-ea"/>
        </a:defRPr>
      </a:lvl6pPr>
      <a:lvl7pPr marL="2944972" indent="-226536" algn="l" rtl="0" eaLnBrk="1" fontAlgn="base" hangingPunct="1">
        <a:spcBef>
          <a:spcPct val="20000"/>
        </a:spcBef>
        <a:spcAft>
          <a:spcPct val="0"/>
        </a:spcAft>
        <a:buChar char="»"/>
        <a:defRPr kumimoji="1" sz="1982">
          <a:solidFill>
            <a:schemeClr val="tx1"/>
          </a:solidFill>
          <a:latin typeface="+mn-lt"/>
          <a:ea typeface="+mn-ea"/>
        </a:defRPr>
      </a:lvl7pPr>
      <a:lvl8pPr marL="3398044" indent="-226536" algn="l" rtl="0" eaLnBrk="1" fontAlgn="base" hangingPunct="1">
        <a:spcBef>
          <a:spcPct val="20000"/>
        </a:spcBef>
        <a:spcAft>
          <a:spcPct val="0"/>
        </a:spcAft>
        <a:buChar char="»"/>
        <a:defRPr kumimoji="1" sz="1982">
          <a:solidFill>
            <a:schemeClr val="tx1"/>
          </a:solidFill>
          <a:latin typeface="+mn-lt"/>
          <a:ea typeface="+mn-ea"/>
        </a:defRPr>
      </a:lvl8pPr>
      <a:lvl9pPr marL="3851117" indent="-226536" algn="l" rtl="0" eaLnBrk="1" fontAlgn="base" hangingPunct="1">
        <a:spcBef>
          <a:spcPct val="20000"/>
        </a:spcBef>
        <a:spcAft>
          <a:spcPct val="0"/>
        </a:spcAft>
        <a:buChar char="»"/>
        <a:defRPr kumimoji="1" sz="1982">
          <a:solidFill>
            <a:schemeClr val="tx1"/>
          </a:solidFill>
          <a:latin typeface="+mn-lt"/>
          <a:ea typeface="+mn-ea"/>
        </a:defRPr>
      </a:lvl9pPr>
    </p:bodyStyle>
    <p:otherStyle>
      <a:defPPr>
        <a:defRPr lang="ja-JP"/>
      </a:defPPr>
      <a:lvl1pPr marL="0" algn="l" defTabSz="906146" rtl="0" eaLnBrk="1" latinLnBrk="0" hangingPunct="1">
        <a:defRPr kumimoji="1" sz="1784" kern="1200">
          <a:solidFill>
            <a:schemeClr val="tx1"/>
          </a:solidFill>
          <a:latin typeface="+mn-lt"/>
          <a:ea typeface="+mn-ea"/>
          <a:cs typeface="+mn-cs"/>
        </a:defRPr>
      </a:lvl1pPr>
      <a:lvl2pPr marL="453072" algn="l" defTabSz="906146" rtl="0" eaLnBrk="1" latinLnBrk="0" hangingPunct="1">
        <a:defRPr kumimoji="1" sz="1784" kern="1200">
          <a:solidFill>
            <a:schemeClr val="tx1"/>
          </a:solidFill>
          <a:latin typeface="+mn-lt"/>
          <a:ea typeface="+mn-ea"/>
          <a:cs typeface="+mn-cs"/>
        </a:defRPr>
      </a:lvl2pPr>
      <a:lvl3pPr marL="906146" algn="l" defTabSz="906146" rtl="0" eaLnBrk="1" latinLnBrk="0" hangingPunct="1">
        <a:defRPr kumimoji="1" sz="1784" kern="1200">
          <a:solidFill>
            <a:schemeClr val="tx1"/>
          </a:solidFill>
          <a:latin typeface="+mn-lt"/>
          <a:ea typeface="+mn-ea"/>
          <a:cs typeface="+mn-cs"/>
        </a:defRPr>
      </a:lvl3pPr>
      <a:lvl4pPr marL="1359218" algn="l" defTabSz="906146" rtl="0" eaLnBrk="1" latinLnBrk="0" hangingPunct="1">
        <a:defRPr kumimoji="1" sz="1784" kern="1200">
          <a:solidFill>
            <a:schemeClr val="tx1"/>
          </a:solidFill>
          <a:latin typeface="+mn-lt"/>
          <a:ea typeface="+mn-ea"/>
          <a:cs typeface="+mn-cs"/>
        </a:defRPr>
      </a:lvl4pPr>
      <a:lvl5pPr marL="1812290" algn="l" defTabSz="906146" rtl="0" eaLnBrk="1" latinLnBrk="0" hangingPunct="1">
        <a:defRPr kumimoji="1" sz="1784" kern="1200">
          <a:solidFill>
            <a:schemeClr val="tx1"/>
          </a:solidFill>
          <a:latin typeface="+mn-lt"/>
          <a:ea typeface="+mn-ea"/>
          <a:cs typeface="+mn-cs"/>
        </a:defRPr>
      </a:lvl5pPr>
      <a:lvl6pPr marL="2265363" algn="l" defTabSz="906146" rtl="0" eaLnBrk="1" latinLnBrk="0" hangingPunct="1">
        <a:defRPr kumimoji="1" sz="1784" kern="1200">
          <a:solidFill>
            <a:schemeClr val="tx1"/>
          </a:solidFill>
          <a:latin typeface="+mn-lt"/>
          <a:ea typeface="+mn-ea"/>
          <a:cs typeface="+mn-cs"/>
        </a:defRPr>
      </a:lvl6pPr>
      <a:lvl7pPr marL="2718435" algn="l" defTabSz="906146" rtl="0" eaLnBrk="1" latinLnBrk="0" hangingPunct="1">
        <a:defRPr kumimoji="1" sz="1784" kern="1200">
          <a:solidFill>
            <a:schemeClr val="tx1"/>
          </a:solidFill>
          <a:latin typeface="+mn-lt"/>
          <a:ea typeface="+mn-ea"/>
          <a:cs typeface="+mn-cs"/>
        </a:defRPr>
      </a:lvl7pPr>
      <a:lvl8pPr marL="3171509" algn="l" defTabSz="906146" rtl="0" eaLnBrk="1" latinLnBrk="0" hangingPunct="1">
        <a:defRPr kumimoji="1" sz="1784" kern="1200">
          <a:solidFill>
            <a:schemeClr val="tx1"/>
          </a:solidFill>
          <a:latin typeface="+mn-lt"/>
          <a:ea typeface="+mn-ea"/>
          <a:cs typeface="+mn-cs"/>
        </a:defRPr>
      </a:lvl8pPr>
      <a:lvl9pPr marL="3624580" algn="l" defTabSz="906146" rtl="0" eaLnBrk="1" latinLnBrk="0" hangingPunct="1">
        <a:defRPr kumimoji="1" sz="17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tags" Target="../tags/tag4.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14.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5.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5.xml"/><Relationship Id="rId1" Type="http://schemas.openxmlformats.org/officeDocument/2006/relationships/tags" Target="../tags/tag7.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9.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10.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5.xml"/><Relationship Id="rId1" Type="http://schemas.openxmlformats.org/officeDocument/2006/relationships/tags" Target="../tags/tag11.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5.xml"/><Relationship Id="rId1" Type="http://schemas.openxmlformats.org/officeDocument/2006/relationships/tags" Target="../tags/tag1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C65C7-BD7D-038B-919F-5118E8445CD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FBED8C7-8452-B1F6-4E79-69CA88AA0264}"/>
              </a:ext>
            </a:extLst>
          </p:cNvPr>
          <p:cNvGraphicFramePr>
            <a:graphicFrameLocks noChangeAspect="1"/>
          </p:cNvGraphicFramePr>
          <p:nvPr>
            <p:custDataLst>
              <p:tags r:id="rId1"/>
            </p:custDataLst>
            <p:extLst>
              <p:ext uri="{D42A27DB-BD31-4B8C-83A1-F6EECF244321}">
                <p14:modId xmlns:p14="http://schemas.microsoft.com/office/powerpoint/2010/main" val="1462862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8FBED8C7-8452-B1F6-4E79-69CA88AA0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52B3195D-1874-BECF-8B03-BD24C94E002F}"/>
              </a:ext>
            </a:extLst>
          </p:cNvPr>
          <p:cNvSpPr>
            <a:spLocks noGrp="1"/>
          </p:cNvSpPr>
          <p:nvPr>
            <p:ph type="ctrTitle"/>
          </p:nvPr>
        </p:nvSpPr>
        <p:spPr>
          <a:xfrm>
            <a:off x="685801" y="2605753"/>
            <a:ext cx="7772400" cy="519501"/>
          </a:xfrm>
        </p:spPr>
        <p:txBody>
          <a:bodyPr vert="horz">
            <a:noAutofit/>
          </a:bodyPr>
          <a:lstStyle/>
          <a:p>
            <a:r>
              <a:rPr lang="ja-JP" altLang="en-US"/>
              <a:t>応募様式ア</a:t>
            </a:r>
          </a:p>
        </p:txBody>
      </p:sp>
    </p:spTree>
    <p:extLst>
      <p:ext uri="{BB962C8B-B14F-4D97-AF65-F5344CB8AC3E}">
        <p14:creationId xmlns:p14="http://schemas.microsoft.com/office/powerpoint/2010/main" val="26362154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A41F1-B11D-DEDA-C985-96644CCE3B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EC4A2E-7C4C-7765-CAFC-62002954EA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5" name="think-cell data - do not delete" hidden="1">
                        <a:extLst>
                          <a:ext uri="{FF2B5EF4-FFF2-40B4-BE49-F238E27FC236}">
                            <a16:creationId xmlns:a16="http://schemas.microsoft.com/office/drawing/2014/main" id="{CAEC4A2E-7C4C-7765-CAFC-62002954EA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F39C56F9-E232-6FAD-E271-D29E1B529082}"/>
              </a:ext>
            </a:extLst>
          </p:cNvPr>
          <p:cNvSpPr txBox="1"/>
          <p:nvPr/>
        </p:nvSpPr>
        <p:spPr>
          <a:xfrm>
            <a:off x="106131" y="3707405"/>
            <a:ext cx="929005"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実施手順</a:t>
            </a:r>
          </a:p>
        </p:txBody>
      </p:sp>
      <p:sp>
        <p:nvSpPr>
          <p:cNvPr id="8" name="タイトル 1">
            <a:extLst>
              <a:ext uri="{FF2B5EF4-FFF2-40B4-BE49-F238E27FC236}">
                <a16:creationId xmlns:a16="http://schemas.microsoft.com/office/drawing/2014/main" id="{4D48DB26-2315-5EA1-6E3E-6139705BF42D}"/>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lvl="0" defTabSz="719255">
              <a:defRPr/>
            </a:pP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県〇市、△市</a:t>
            </a: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XX</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圏域における各市町村の交通担当者に対する</a:t>
            </a:r>
          </a:p>
          <a:p>
            <a:pPr lvl="0" defTabSz="719255">
              <a:defRPr/>
            </a:pP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モビリティデータに基づく</a:t>
            </a: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EBPM</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推進に向けた人材育成プログラム</a:t>
            </a:r>
          </a:p>
        </p:txBody>
      </p:sp>
      <p:sp>
        <p:nvSpPr>
          <p:cNvPr id="43" name="テキスト ボックス 42">
            <a:extLst>
              <a:ext uri="{FF2B5EF4-FFF2-40B4-BE49-F238E27FC236}">
                <a16:creationId xmlns:a16="http://schemas.microsoft.com/office/drawing/2014/main" id="{FC694465-EA88-D34E-0602-599AA3054AD7}"/>
              </a:ext>
            </a:extLst>
          </p:cNvPr>
          <p:cNvSpPr txBox="1"/>
          <p:nvPr/>
        </p:nvSpPr>
        <p:spPr>
          <a:xfrm>
            <a:off x="107305" y="1972021"/>
            <a:ext cx="1381064"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事業背景・目的</a:t>
            </a:r>
          </a:p>
        </p:txBody>
      </p:sp>
      <p:sp>
        <p:nvSpPr>
          <p:cNvPr id="44" name="テキスト ボックス 43">
            <a:extLst>
              <a:ext uri="{FF2B5EF4-FFF2-40B4-BE49-F238E27FC236}">
                <a16:creationId xmlns:a16="http://schemas.microsoft.com/office/drawing/2014/main" id="{2062E521-40F8-8C99-5A77-EDC1E54786B5}"/>
              </a:ext>
            </a:extLst>
          </p:cNvPr>
          <p:cNvSpPr txBox="1"/>
          <p:nvPr/>
        </p:nvSpPr>
        <p:spPr>
          <a:xfrm>
            <a:off x="4394986" y="542699"/>
            <a:ext cx="929005"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事業概要</a:t>
            </a:r>
          </a:p>
        </p:txBody>
      </p:sp>
      <p:sp>
        <p:nvSpPr>
          <p:cNvPr id="45" name="テキスト ボックス 44">
            <a:extLst>
              <a:ext uri="{FF2B5EF4-FFF2-40B4-BE49-F238E27FC236}">
                <a16:creationId xmlns:a16="http://schemas.microsoft.com/office/drawing/2014/main" id="{333F8956-FCB1-DB4B-C29A-38DCC73EABE1}"/>
              </a:ext>
            </a:extLst>
          </p:cNvPr>
          <p:cNvSpPr txBox="1"/>
          <p:nvPr/>
        </p:nvSpPr>
        <p:spPr>
          <a:xfrm>
            <a:off x="114853" y="1151947"/>
            <a:ext cx="1286292"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事業実施地域</a:t>
            </a:r>
          </a:p>
        </p:txBody>
      </p:sp>
      <p:sp>
        <p:nvSpPr>
          <p:cNvPr id="46" name="テキスト ボックス 45">
            <a:extLst>
              <a:ext uri="{FF2B5EF4-FFF2-40B4-BE49-F238E27FC236}">
                <a16:creationId xmlns:a16="http://schemas.microsoft.com/office/drawing/2014/main" id="{19FE5652-343A-E4E3-7D40-1D0E228186B2}"/>
              </a:ext>
            </a:extLst>
          </p:cNvPr>
          <p:cNvSpPr txBox="1"/>
          <p:nvPr/>
        </p:nvSpPr>
        <p:spPr>
          <a:xfrm>
            <a:off x="80961" y="551212"/>
            <a:ext cx="1260000" cy="323493"/>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r>
              <a:rPr lang="ja-JP" altLang="en-US" sz="1400" b="1">
                <a:solidFill>
                  <a:schemeClr val="bg1"/>
                </a:solidFill>
                <a:latin typeface="Meiryo UI" panose="020B0604030504040204" pitchFamily="50" charset="-128"/>
                <a:ea typeface="Meiryo UI" panose="020B0604030504040204" pitchFamily="50" charset="-128"/>
              </a:rPr>
              <a:t>事業主体</a:t>
            </a:r>
          </a:p>
        </p:txBody>
      </p:sp>
      <p:sp>
        <p:nvSpPr>
          <p:cNvPr id="52" name="テキスト ボックス 51">
            <a:extLst>
              <a:ext uri="{FF2B5EF4-FFF2-40B4-BE49-F238E27FC236}">
                <a16:creationId xmlns:a16="http://schemas.microsoft.com/office/drawing/2014/main" id="{31CAB318-2888-D004-8A02-AF563D1B21ED}"/>
              </a:ext>
            </a:extLst>
          </p:cNvPr>
          <p:cNvSpPr txBox="1"/>
          <p:nvPr/>
        </p:nvSpPr>
        <p:spPr>
          <a:xfrm>
            <a:off x="4529588" y="3807327"/>
            <a:ext cx="1719177"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見込まれる事業効果</a:t>
            </a:r>
          </a:p>
        </p:txBody>
      </p:sp>
      <p:sp>
        <p:nvSpPr>
          <p:cNvPr id="2" name="テキスト ボックス 1">
            <a:extLst>
              <a:ext uri="{FF2B5EF4-FFF2-40B4-BE49-F238E27FC236}">
                <a16:creationId xmlns:a16="http://schemas.microsoft.com/office/drawing/2014/main" id="{DD1229C7-161E-C0E1-5B5D-E364FE617736}"/>
              </a:ext>
            </a:extLst>
          </p:cNvPr>
          <p:cNvSpPr txBox="1"/>
          <p:nvPr/>
        </p:nvSpPr>
        <p:spPr>
          <a:xfrm>
            <a:off x="1358126" y="556979"/>
            <a:ext cx="2976107" cy="338464"/>
          </a:xfrm>
          <a:prstGeom prst="rect">
            <a:avLst/>
          </a:prstGeom>
          <a:noFill/>
          <a:ln>
            <a:noFill/>
          </a:ln>
        </p:spPr>
        <p:txBody>
          <a:bodyPr wrap="square" rtlCol="0">
            <a:noAutofit/>
          </a:bodyPr>
          <a:lstStyle/>
          <a:p>
            <a:pPr>
              <a:defRPr/>
            </a:pPr>
            <a:r>
              <a:rPr lang="ja-JP" altLang="en-US" sz="1400">
                <a:latin typeface="Meiryo UI" panose="020B0604030504040204" pitchFamily="50" charset="-128"/>
                <a:ea typeface="Meiryo UI" panose="020B0604030504040204" pitchFamily="50" charset="-128"/>
              </a:rPr>
              <a:t>株式会社</a:t>
            </a:r>
            <a:r>
              <a:rPr lang="en-US" altLang="ja-JP" sz="1400">
                <a:latin typeface="Meiryo UI" panose="020B0604030504040204" pitchFamily="50" charset="-128"/>
                <a:ea typeface="Meiryo UI" panose="020B0604030504040204" pitchFamily="50" charset="-128"/>
              </a:rPr>
              <a:t>X</a:t>
            </a:r>
          </a:p>
        </p:txBody>
      </p:sp>
      <p:sp>
        <p:nvSpPr>
          <p:cNvPr id="6" name="テキスト ボックス 5">
            <a:extLst>
              <a:ext uri="{FF2B5EF4-FFF2-40B4-BE49-F238E27FC236}">
                <a16:creationId xmlns:a16="http://schemas.microsoft.com/office/drawing/2014/main" id="{1F48F448-5AF3-DBF0-A760-89D273E45E9C}"/>
              </a:ext>
            </a:extLst>
          </p:cNvPr>
          <p:cNvSpPr txBox="1"/>
          <p:nvPr/>
        </p:nvSpPr>
        <p:spPr>
          <a:xfrm>
            <a:off x="4761" y="2266504"/>
            <a:ext cx="4378896" cy="1222624"/>
          </a:xfrm>
          <a:prstGeom prst="rect">
            <a:avLst/>
          </a:prstGeom>
          <a:noFill/>
        </p:spPr>
        <p:txBody>
          <a:bodyPr wrap="square" lIns="72000" tIns="72000" rIns="72000" bIns="72000">
            <a:noAutofit/>
          </a:bodyPr>
          <a:lstStyle/>
          <a:p>
            <a:pPr marL="285750" indent="-285750">
              <a:buFont typeface="Wingdings" panose="05000000000000000000" pitchFamily="2" charset="2"/>
              <a:buChar char="Ø"/>
            </a:pPr>
            <a:r>
              <a:rPr lang="ja-JP" altLang="en-US" sz="1400">
                <a:latin typeface="Meiryo UI" panose="020B0604030504040204" pitchFamily="50" charset="-128"/>
                <a:ea typeface="Meiryo UI" panose="020B0604030504040204" pitchFamily="50" charset="-128"/>
                <a:sym typeface="+mj-lt"/>
              </a:rPr>
              <a:t>地域の実情に沿った交通ネットワークの構築のための</a:t>
            </a:r>
            <a:r>
              <a:rPr lang="en-US" altLang="ja-JP" sz="1400">
                <a:latin typeface="Meiryo UI" panose="020B0604030504040204" pitchFamily="50" charset="-128"/>
                <a:ea typeface="Meiryo UI" panose="020B0604030504040204" pitchFamily="50" charset="-128"/>
                <a:sym typeface="+mj-lt"/>
              </a:rPr>
              <a:t>EBPM</a:t>
            </a:r>
            <a:r>
              <a:rPr lang="ja-JP" altLang="en-US" sz="1400">
                <a:latin typeface="Meiryo UI" panose="020B0604030504040204" pitchFamily="50" charset="-128"/>
                <a:ea typeface="Meiryo UI" panose="020B0604030504040204" pitchFamily="50" charset="-128"/>
                <a:sym typeface="+mj-lt"/>
              </a:rPr>
              <a:t>の推進に向けては、実情に即した計画立案を行うナレッジ・スキルの習得が不可欠。</a:t>
            </a:r>
            <a:endParaRPr lang="en-US" altLang="ja-JP" sz="1400">
              <a:latin typeface="Meiryo UI" panose="020B0604030504040204" pitchFamily="50" charset="-128"/>
              <a:ea typeface="Meiryo UI" panose="020B0604030504040204" pitchFamily="50" charset="-128"/>
              <a:sym typeface="+mj-lt"/>
            </a:endParaRPr>
          </a:p>
          <a:p>
            <a:pPr marL="285750" indent="-285750">
              <a:buFont typeface="Wingdings" panose="05000000000000000000" pitchFamily="2" charset="2"/>
              <a:buChar char="Ø"/>
            </a:pPr>
            <a:r>
              <a:rPr lang="ja-JP" altLang="en-US" sz="1400">
                <a:latin typeface="Meiryo UI" panose="020B0604030504040204" pitchFamily="50" charset="-128"/>
                <a:ea typeface="Meiryo UI" panose="020B0604030504040204" pitchFamily="50" charset="-128"/>
                <a:sym typeface="+mj-lt"/>
              </a:rPr>
              <a:t>改定が予定されている圏域の地域公共交通計画をアップデートし、より最適な地域公共交通施策を行う。</a:t>
            </a:r>
          </a:p>
          <a:p>
            <a:pPr marL="285750" indent="-285750">
              <a:buFont typeface="Wingdings" panose="05000000000000000000" pitchFamily="2" charset="2"/>
              <a:buChar char="Ø"/>
            </a:pPr>
            <a:endParaRPr lang="ja-JP" altLang="en-US" sz="1400">
              <a:latin typeface="Meiryo UI" panose="020B0604030504040204" pitchFamily="50" charset="-128"/>
              <a:ea typeface="Meiryo UI" panose="020B0604030504040204" pitchFamily="50" charset="-128"/>
              <a:sym typeface="+mj-lt"/>
            </a:endParaRPr>
          </a:p>
          <a:p>
            <a:pPr marL="285750" indent="-285750">
              <a:buFont typeface="Wingdings" panose="05000000000000000000" pitchFamily="2" charset="2"/>
              <a:buChar char="Ø"/>
            </a:pPr>
            <a:endParaRPr lang="ja-JP" altLang="en-US" sz="1400">
              <a:solidFill>
                <a:schemeClr val="bg1">
                  <a:lumMod val="75000"/>
                </a:schemeClr>
              </a:solidFill>
              <a:latin typeface="Meiryo UI" panose="020B0604030504040204" pitchFamily="50" charset="-128"/>
              <a:ea typeface="Meiryo UI" panose="020B0604030504040204" pitchFamily="50" charset="-128"/>
              <a:sym typeface="+mj-lt"/>
            </a:endParaRPr>
          </a:p>
        </p:txBody>
      </p:sp>
      <p:sp>
        <p:nvSpPr>
          <p:cNvPr id="9" name="テキスト ボックス 8">
            <a:extLst>
              <a:ext uri="{FF2B5EF4-FFF2-40B4-BE49-F238E27FC236}">
                <a16:creationId xmlns:a16="http://schemas.microsoft.com/office/drawing/2014/main" id="{347C63FD-3F27-AA9E-2A36-868CDE7B4E0A}"/>
              </a:ext>
            </a:extLst>
          </p:cNvPr>
          <p:cNvSpPr txBox="1"/>
          <p:nvPr/>
        </p:nvSpPr>
        <p:spPr>
          <a:xfrm>
            <a:off x="157591" y="1472436"/>
            <a:ext cx="2068056" cy="605206"/>
          </a:xfrm>
          <a:prstGeom prst="rect">
            <a:avLst/>
          </a:prstGeom>
          <a:noFill/>
          <a:ln>
            <a:noFill/>
          </a:ln>
        </p:spPr>
        <p:txBody>
          <a:bodyPr wrap="square" rtlCol="0">
            <a:noAutofit/>
          </a:bodyPr>
          <a:lstStyle/>
          <a:p>
            <a:pPr>
              <a:defRPr/>
            </a:pP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県</a:t>
            </a: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圏域における</a:t>
            </a:r>
            <a:endParaRPr lang="en-US" altLang="ja-JP" sz="1400">
              <a:latin typeface="Meiryo UI" panose="020B0604030504040204" pitchFamily="50" charset="-128"/>
              <a:ea typeface="Meiryo UI" panose="020B0604030504040204" pitchFamily="50" charset="-128"/>
            </a:endParaRPr>
          </a:p>
          <a:p>
            <a:pPr>
              <a:defRPr/>
            </a:pPr>
            <a:r>
              <a:rPr lang="en-US" altLang="ja-JP" sz="1400">
                <a:latin typeface="Meiryo UI" panose="020B0604030504040204" pitchFamily="50" charset="-128"/>
                <a:ea typeface="Meiryo UI" panose="020B0604030504040204" pitchFamily="50" charset="-128"/>
              </a:rPr>
              <a:t>5</a:t>
            </a:r>
            <a:r>
              <a:rPr lang="ja-JP" altLang="en-US" sz="1400">
                <a:latin typeface="Meiryo UI" panose="020B0604030504040204" pitchFamily="50" charset="-128"/>
                <a:ea typeface="Meiryo UI" panose="020B0604030504040204" pitchFamily="50" charset="-128"/>
              </a:rPr>
              <a:t>市町村</a:t>
            </a:r>
          </a:p>
        </p:txBody>
      </p:sp>
      <p:sp>
        <p:nvSpPr>
          <p:cNvPr id="10" name="テキスト ボックス 9">
            <a:extLst>
              <a:ext uri="{FF2B5EF4-FFF2-40B4-BE49-F238E27FC236}">
                <a16:creationId xmlns:a16="http://schemas.microsoft.com/office/drawing/2014/main" id="{253F7D1B-E2AA-FF20-77C8-C1E3663DAC4F}"/>
              </a:ext>
            </a:extLst>
          </p:cNvPr>
          <p:cNvSpPr txBox="1"/>
          <p:nvPr/>
        </p:nvSpPr>
        <p:spPr>
          <a:xfrm>
            <a:off x="51011" y="4058330"/>
            <a:ext cx="4378896" cy="2574888"/>
          </a:xfrm>
          <a:prstGeom prst="rect">
            <a:avLst/>
          </a:prstGeom>
          <a:noFill/>
        </p:spPr>
        <p:txBody>
          <a:bodyPr wrap="square" lIns="72000" tIns="72000" rIns="72000" bIns="72000">
            <a:noAutofit/>
          </a:bodyPr>
          <a:lstStyle/>
          <a:p>
            <a:r>
              <a:rPr lang="ja-JP" altLang="en-US" sz="1400" dirty="0">
                <a:latin typeface="Meiryo UI" panose="020B0604030504040204" pitchFamily="50" charset="-128"/>
                <a:ea typeface="Meiryo UI" panose="020B0604030504040204" pitchFamily="50" charset="-128"/>
                <a:sym typeface="+mj-lt"/>
              </a:rPr>
              <a:t>６月～７月：人材育成カリキュラムの企画・立案</a:t>
            </a:r>
          </a:p>
          <a:p>
            <a:r>
              <a:rPr lang="ja-JP" altLang="en-US" sz="1400" dirty="0">
                <a:latin typeface="Meiryo UI" panose="020B0604030504040204" pitchFamily="50" charset="-128"/>
                <a:ea typeface="Meiryo UI" panose="020B0604030504040204" pitchFamily="50" charset="-128"/>
                <a:sym typeface="+mj-lt"/>
              </a:rPr>
              <a:t>圏域内の各市町村の交通担当者を対象として、各種データに基づく公共交通の現状把握や分析を通じた施策立案等に資する人材育成プログラムを企画・立案する。</a:t>
            </a:r>
          </a:p>
          <a:p>
            <a:r>
              <a:rPr lang="ja-JP" altLang="en-US" sz="1400" dirty="0">
                <a:latin typeface="Meiryo UI" panose="020B0604030504040204" pitchFamily="50" charset="-128"/>
                <a:ea typeface="Meiryo UI" panose="020B0604030504040204" pitchFamily="50" charset="-128"/>
                <a:sym typeface="+mj-lt"/>
              </a:rPr>
              <a:t>７月～８月：講義の実施（全</a:t>
            </a:r>
            <a:r>
              <a:rPr lang="en-US" altLang="ja-JP" sz="1400" dirty="0">
                <a:latin typeface="Meiryo UI" panose="020B0604030504040204" pitchFamily="50" charset="-128"/>
                <a:ea typeface="Meiryo UI" panose="020B0604030504040204" pitchFamily="50" charset="-128"/>
                <a:sym typeface="+mj-lt"/>
              </a:rPr>
              <a:t>X</a:t>
            </a:r>
            <a:r>
              <a:rPr lang="ja-JP" altLang="en-US" sz="1400" dirty="0">
                <a:latin typeface="Meiryo UI" panose="020B0604030504040204" pitchFamily="50" charset="-128"/>
                <a:ea typeface="Meiryo UI" panose="020B0604030504040204" pitchFamily="50" charset="-128"/>
                <a:sym typeface="+mj-lt"/>
              </a:rPr>
              <a:t>回）</a:t>
            </a:r>
          </a:p>
          <a:p>
            <a:r>
              <a:rPr lang="ja-JP" altLang="en-US" sz="1400" dirty="0">
                <a:latin typeface="Meiryo UI" panose="020B0604030504040204" pitchFamily="50" charset="-128"/>
                <a:ea typeface="Meiryo UI" panose="020B0604030504040204" pitchFamily="50" charset="-128"/>
                <a:sym typeface="+mj-lt"/>
              </a:rPr>
              <a:t>公共交通の専門家を招聘し、データ等の施策立案や</a:t>
            </a:r>
            <a:r>
              <a:rPr lang="en-US" altLang="ja-JP" sz="1400" dirty="0">
                <a:latin typeface="Meiryo UI" panose="020B0604030504040204" pitchFamily="50" charset="-128"/>
                <a:ea typeface="Meiryo UI" panose="020B0604030504040204" pitchFamily="50" charset="-128"/>
                <a:sym typeface="+mj-lt"/>
              </a:rPr>
              <a:t>EBPM</a:t>
            </a:r>
            <a:r>
              <a:rPr lang="ja-JP" altLang="en-US" sz="1400" dirty="0">
                <a:latin typeface="Meiryo UI" panose="020B0604030504040204" pitchFamily="50" charset="-128"/>
                <a:ea typeface="Meiryo UI" panose="020B0604030504040204" pitchFamily="50" charset="-128"/>
                <a:sym typeface="+mj-lt"/>
              </a:rPr>
              <a:t>について学習し、基本的な知識を取得する。</a:t>
            </a:r>
          </a:p>
          <a:p>
            <a:r>
              <a:rPr lang="en-US" altLang="ja-JP" sz="1400" dirty="0">
                <a:latin typeface="Meiryo UI" panose="020B0604030504040204" pitchFamily="50" charset="-128"/>
                <a:ea typeface="Meiryo UI" panose="020B0604030504040204" pitchFamily="50" charset="-128"/>
                <a:sym typeface="+mj-lt"/>
              </a:rPr>
              <a:t>9</a:t>
            </a:r>
            <a:r>
              <a:rPr lang="ja-JP" altLang="en-US" sz="1400" dirty="0">
                <a:latin typeface="Meiryo UI" panose="020B0604030504040204" pitchFamily="50" charset="-128"/>
                <a:ea typeface="Meiryo UI" panose="020B0604030504040204" pitchFamily="50" charset="-128"/>
                <a:sym typeface="+mj-lt"/>
              </a:rPr>
              <a:t>月～</a:t>
            </a:r>
            <a:r>
              <a:rPr lang="en-US" altLang="ja-JP" sz="1400" dirty="0">
                <a:latin typeface="Meiryo UI" panose="020B0604030504040204" pitchFamily="50" charset="-128"/>
                <a:ea typeface="Meiryo UI" panose="020B0604030504040204" pitchFamily="50" charset="-128"/>
                <a:sym typeface="+mj-lt"/>
              </a:rPr>
              <a:t>11</a:t>
            </a:r>
            <a:r>
              <a:rPr lang="ja-JP" altLang="en-US" sz="1400" dirty="0">
                <a:latin typeface="Meiryo UI" panose="020B0604030504040204" pitchFamily="50" charset="-128"/>
                <a:ea typeface="Meiryo UI" panose="020B0604030504040204" pitchFamily="50" charset="-128"/>
                <a:sym typeface="+mj-lt"/>
              </a:rPr>
              <a:t>月：</a:t>
            </a:r>
            <a:r>
              <a:rPr lang="en-US" altLang="ja-JP" sz="1400" dirty="0">
                <a:latin typeface="Meiryo UI" panose="020B0604030504040204" pitchFamily="50" charset="-128"/>
                <a:ea typeface="Meiryo UI" panose="020B0604030504040204" pitchFamily="50" charset="-128"/>
                <a:sym typeface="+mj-lt"/>
              </a:rPr>
              <a:t>OJT</a:t>
            </a:r>
            <a:r>
              <a:rPr lang="ja-JP" altLang="en-US" sz="1400" dirty="0">
                <a:latin typeface="Meiryo UI" panose="020B0604030504040204" pitchFamily="50" charset="-128"/>
                <a:ea typeface="Meiryo UI" panose="020B0604030504040204" pitchFamily="50" charset="-128"/>
                <a:sym typeface="+mj-lt"/>
              </a:rPr>
              <a:t>・ワークショップの実施（全</a:t>
            </a:r>
            <a:r>
              <a:rPr lang="en-US" altLang="ja-JP" sz="1400" dirty="0">
                <a:latin typeface="Meiryo UI" panose="020B0604030504040204" pitchFamily="50" charset="-128"/>
                <a:ea typeface="Meiryo UI" panose="020B0604030504040204" pitchFamily="50" charset="-128"/>
                <a:sym typeface="+mj-lt"/>
              </a:rPr>
              <a:t>X</a:t>
            </a:r>
            <a:r>
              <a:rPr lang="ja-JP" altLang="en-US" sz="1400" dirty="0">
                <a:latin typeface="Meiryo UI" panose="020B0604030504040204" pitchFamily="50" charset="-128"/>
                <a:ea typeface="Meiryo UI" panose="020B0604030504040204" pitchFamily="50" charset="-128"/>
                <a:sym typeface="+mj-lt"/>
              </a:rPr>
              <a:t>回）</a:t>
            </a:r>
          </a:p>
          <a:p>
            <a:r>
              <a:rPr lang="ja-JP" altLang="en-US" sz="1400" dirty="0">
                <a:latin typeface="Meiryo UI" panose="020B0604030504040204" pitchFamily="50" charset="-128"/>
                <a:ea typeface="Meiryo UI" panose="020B0604030504040204" pitchFamily="50" charset="-128"/>
                <a:sym typeface="+mj-lt"/>
              </a:rPr>
              <a:t>実際の地域の交通データを活用した</a:t>
            </a:r>
            <a:r>
              <a:rPr lang="en-US" altLang="ja-JP" sz="1400" dirty="0">
                <a:latin typeface="Meiryo UI" panose="020B0604030504040204" pitchFamily="50" charset="-128"/>
                <a:ea typeface="Meiryo UI" panose="020B0604030504040204" pitchFamily="50" charset="-128"/>
                <a:sym typeface="+mj-lt"/>
              </a:rPr>
              <a:t>OJT</a:t>
            </a:r>
            <a:r>
              <a:rPr lang="ja-JP" altLang="en-US" sz="1400" dirty="0">
                <a:latin typeface="Meiryo UI" panose="020B0604030504040204" pitchFamily="50" charset="-128"/>
                <a:ea typeface="Meiryo UI" panose="020B0604030504040204" pitchFamily="50" charset="-128"/>
                <a:sym typeface="+mj-lt"/>
              </a:rPr>
              <a:t>を行うとともに、データ分析作業をハンズオンで行うワークショップを開催する。</a:t>
            </a:r>
          </a:p>
        </p:txBody>
      </p:sp>
      <p:sp>
        <p:nvSpPr>
          <p:cNvPr id="11" name="テキスト ボックス 10">
            <a:extLst>
              <a:ext uri="{FF2B5EF4-FFF2-40B4-BE49-F238E27FC236}">
                <a16:creationId xmlns:a16="http://schemas.microsoft.com/office/drawing/2014/main" id="{321CB4B4-C5C0-3F76-39E3-5A5759EEF6DB}"/>
              </a:ext>
            </a:extLst>
          </p:cNvPr>
          <p:cNvSpPr txBox="1"/>
          <p:nvPr/>
        </p:nvSpPr>
        <p:spPr>
          <a:xfrm>
            <a:off x="4305823" y="4107723"/>
            <a:ext cx="4863315" cy="2894526"/>
          </a:xfrm>
          <a:prstGeom prst="rect">
            <a:avLst/>
          </a:prstGeom>
          <a:noFill/>
        </p:spPr>
        <p:txBody>
          <a:bodyPr wrap="square">
            <a:noAutofit/>
          </a:bodyPr>
          <a:lstStyle/>
          <a:p>
            <a:pPr lvl="0" defTabSz="906146">
              <a:defRPr/>
            </a:pPr>
            <a:r>
              <a:rPr lang="ja-JP" altLang="en-US" sz="1400" spc="-100">
                <a:latin typeface="Meiryo UI" panose="020B0604030504040204" pitchFamily="50" charset="-128"/>
                <a:ea typeface="Meiryo UI" panose="020B0604030504040204" pitchFamily="50" charset="-128"/>
              </a:rPr>
              <a:t>①地方公共団体の業務効率化、負担低減</a:t>
            </a:r>
            <a:endParaRPr lang="en-US" altLang="ja-JP" sz="1400" spc="-100">
              <a:latin typeface="Meiryo UI" panose="020B0604030504040204" pitchFamily="50" charset="-128"/>
              <a:ea typeface="Meiryo UI" panose="020B0604030504040204" pitchFamily="50" charset="-128"/>
            </a:endParaRPr>
          </a:p>
          <a:p>
            <a:pPr lvl="0" defTabSz="906146">
              <a:defRPr/>
            </a:pPr>
            <a:r>
              <a:rPr lang="ja-JP" altLang="en-US" sz="1400" spc="-100">
                <a:latin typeface="Meiryo UI" panose="020B0604030504040204" pitchFamily="50" charset="-128"/>
                <a:ea typeface="Meiryo UI" panose="020B0604030504040204" pitchFamily="50" charset="-128"/>
              </a:rPr>
              <a:t>　地域公共交通の</a:t>
            </a:r>
            <a:r>
              <a:rPr lang="en-US" altLang="ja-JP" sz="1400" spc="-100">
                <a:latin typeface="Meiryo UI" panose="020B0604030504040204" pitchFamily="50" charset="-128"/>
                <a:ea typeface="Meiryo UI" panose="020B0604030504040204" pitchFamily="50" charset="-128"/>
              </a:rPr>
              <a:t>PDCA</a:t>
            </a:r>
            <a:r>
              <a:rPr lang="ja-JP" altLang="en-US" sz="1400" spc="-100">
                <a:latin typeface="Meiryo UI" panose="020B0604030504040204" pitchFamily="50" charset="-128"/>
                <a:ea typeface="Meiryo UI" panose="020B0604030504040204" pitchFamily="50" charset="-128"/>
              </a:rPr>
              <a:t>サイクルの迅速化やノウハウや基礎的な知識の取得を通じたスキルの底上げによる業務の効率化等により、交通政策担当者の業務時間が○○％減少する。</a:t>
            </a:r>
            <a:endParaRPr lang="en-US" altLang="ja-JP" sz="1400" spc="-100">
              <a:latin typeface="Meiryo UI" panose="020B0604030504040204" pitchFamily="50" charset="-128"/>
              <a:ea typeface="Meiryo UI" panose="020B0604030504040204" pitchFamily="50" charset="-128"/>
            </a:endParaRPr>
          </a:p>
          <a:p>
            <a:pPr lvl="0" defTabSz="906146">
              <a:defRPr/>
            </a:pPr>
            <a:r>
              <a:rPr lang="ja-JP" altLang="en-US" sz="1400" spc="-100">
                <a:latin typeface="Meiryo UI" panose="020B0604030504040204" pitchFamily="50" charset="-128"/>
                <a:ea typeface="Meiryo UI" panose="020B0604030504040204" pitchFamily="50" charset="-128"/>
              </a:rPr>
              <a:t>②効率化による地域公共交通業務の拡大</a:t>
            </a:r>
            <a:endParaRPr lang="en-US" altLang="ja-JP" sz="1400" spc="-100">
              <a:latin typeface="Meiryo UI" panose="020B0604030504040204" pitchFamily="50" charset="-128"/>
              <a:ea typeface="Meiryo UI" panose="020B0604030504040204" pitchFamily="50" charset="-128"/>
            </a:endParaRPr>
          </a:p>
          <a:p>
            <a:pPr lvl="0" defTabSz="906146">
              <a:defRPr/>
            </a:pPr>
            <a:r>
              <a:rPr lang="ja-JP" altLang="en-US" sz="1400" spc="-100">
                <a:latin typeface="Meiryo UI" panose="020B0604030504040204" pitchFamily="50" charset="-128"/>
                <a:ea typeface="Meiryo UI" panose="020B0604030504040204" pitchFamily="50" charset="-128"/>
              </a:rPr>
              <a:t>　地域公共交通計画に記載されているが、体制不足で実施できなかった新たなデマンド交通の実証運行やデータを活用した他分野との連携、緊急時の対応等の迅速な施策運営が可能となる。</a:t>
            </a:r>
            <a:endParaRPr lang="en-US" altLang="ja-JP" sz="1400" spc="-100">
              <a:latin typeface="Meiryo UI" panose="020B0604030504040204" pitchFamily="50" charset="-128"/>
              <a:ea typeface="Meiryo UI" panose="020B0604030504040204" pitchFamily="50" charset="-128"/>
            </a:endParaRPr>
          </a:p>
          <a:p>
            <a:pPr lvl="0" defTabSz="906146">
              <a:defRPr/>
            </a:pPr>
            <a:r>
              <a:rPr lang="ja-JP" altLang="en-US" sz="1400" spc="-100">
                <a:latin typeface="Meiryo UI" panose="020B0604030504040204" pitchFamily="50" charset="-128"/>
                <a:ea typeface="Meiryo UI" panose="020B0604030504040204" pitchFamily="50" charset="-128"/>
              </a:rPr>
              <a:t>③地域のネットワーク再編・結節強化により、利用者の待ち時間短縮や実車率の改善につながり、利便性の向上を見込むことができる。</a:t>
            </a:r>
            <a:endParaRPr lang="en-US" altLang="ja-JP" sz="1400" spc="-100">
              <a:latin typeface="Meiryo UI" panose="020B0604030504040204" pitchFamily="50" charset="-128"/>
              <a:ea typeface="Meiryo UI" panose="020B0604030504040204" pitchFamily="50" charset="-128"/>
            </a:endParaRPr>
          </a:p>
          <a:p>
            <a:pPr lvl="0" defTabSz="906146">
              <a:defRPr/>
            </a:pPr>
            <a:r>
              <a:rPr lang="ja-JP" altLang="en-US" sz="1400" spc="-100">
                <a:latin typeface="Meiryo UI" panose="020B0604030504040204" pitchFamily="50" charset="-128"/>
                <a:ea typeface="Meiryo UI" panose="020B0604030504040204" pitchFamily="50" charset="-128"/>
              </a:rPr>
              <a:t>④他の圏域、市町村での水平展開を行い、「交通空白」の解消に資する。</a:t>
            </a:r>
            <a:endParaRPr lang="en-US" altLang="ja-JP" sz="1400" spc="-1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3E2CA0D-0742-2E18-6A47-7114E043B308}"/>
              </a:ext>
            </a:extLst>
          </p:cNvPr>
          <p:cNvSpPr txBox="1"/>
          <p:nvPr/>
        </p:nvSpPr>
        <p:spPr>
          <a:xfrm>
            <a:off x="1868940" y="1146652"/>
            <a:ext cx="763830"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r>
              <a:rPr lang="ja-JP" altLang="en-US" sz="1400" b="1">
                <a:solidFill>
                  <a:schemeClr val="bg1"/>
                </a:solidFill>
                <a:latin typeface="Meiryo UI" panose="020B0604030504040204" pitchFamily="50" charset="-128"/>
                <a:ea typeface="Meiryo UI" panose="020B0604030504040204" pitchFamily="50" charset="-128"/>
              </a:rPr>
              <a:t>事業費</a:t>
            </a:r>
          </a:p>
        </p:txBody>
      </p:sp>
      <p:sp>
        <p:nvSpPr>
          <p:cNvPr id="18" name="テキスト ボックス 17">
            <a:extLst>
              <a:ext uri="{FF2B5EF4-FFF2-40B4-BE49-F238E27FC236}">
                <a16:creationId xmlns:a16="http://schemas.microsoft.com/office/drawing/2014/main" id="{7170001B-C7BD-731A-C2F8-29DCB1C3F879}"/>
              </a:ext>
            </a:extLst>
          </p:cNvPr>
          <p:cNvSpPr txBox="1"/>
          <p:nvPr/>
        </p:nvSpPr>
        <p:spPr>
          <a:xfrm>
            <a:off x="1987320" y="1477811"/>
            <a:ext cx="2289505" cy="538428"/>
          </a:xfrm>
          <a:prstGeom prst="rect">
            <a:avLst/>
          </a:prstGeom>
          <a:noFill/>
        </p:spPr>
        <p:txBody>
          <a:bodyPr wrap="square">
            <a:noAutofit/>
          </a:bodyPr>
          <a:lstStyle/>
          <a:p>
            <a:pPr lvl="0" fontAlgn="base">
              <a:spcBef>
                <a:spcPct val="0"/>
              </a:spcBef>
              <a:spcAft>
                <a:spcPct val="0"/>
              </a:spcAft>
              <a:defRPr/>
            </a:pPr>
            <a:r>
              <a:rPr lang="ja-JP" altLang="en-US" sz="1400" kern="0">
                <a:latin typeface="Meiryo UI" panose="020B0604030504040204" pitchFamily="50" charset="-128"/>
                <a:ea typeface="Meiryo UI" panose="020B0604030504040204" pitchFamily="50" charset="-128"/>
              </a:rPr>
              <a:t>事業全体費用：</a:t>
            </a:r>
            <a:r>
              <a:rPr lang="en-US" altLang="ja-JP" sz="1400" kern="0">
                <a:latin typeface="Meiryo UI" panose="020B0604030504040204" pitchFamily="50" charset="-128"/>
                <a:ea typeface="Meiryo UI" panose="020B0604030504040204" pitchFamily="50" charset="-128"/>
              </a:rPr>
              <a:t>1000</a:t>
            </a:r>
            <a:r>
              <a:rPr lang="ja-JP" altLang="en-US" sz="1400" kern="0">
                <a:latin typeface="Meiryo UI" panose="020B0604030504040204" pitchFamily="50" charset="-128"/>
                <a:ea typeface="Meiryo UI" panose="020B0604030504040204" pitchFamily="50" charset="-128"/>
              </a:rPr>
              <a:t>万円</a:t>
            </a:r>
            <a:endParaRPr lang="en-US" altLang="ja-JP" sz="1400" kern="0">
              <a:latin typeface="Meiryo UI" panose="020B0604030504040204" pitchFamily="50" charset="-128"/>
              <a:ea typeface="Meiryo UI" panose="020B0604030504040204" pitchFamily="50" charset="-128"/>
            </a:endParaRPr>
          </a:p>
          <a:p>
            <a:pPr lvl="0" fontAlgn="base">
              <a:spcBef>
                <a:spcPct val="0"/>
              </a:spcBef>
              <a:spcAft>
                <a:spcPct val="0"/>
              </a:spcAft>
              <a:defRPr/>
            </a:pPr>
            <a:r>
              <a:rPr lang="ja-JP" altLang="en-US" sz="1400" kern="0">
                <a:latin typeface="Meiryo UI" panose="020B0604030504040204" pitchFamily="50" charset="-128"/>
                <a:ea typeface="Meiryo UI" panose="020B0604030504040204" pitchFamily="50" charset="-128"/>
              </a:rPr>
              <a:t>補助対象経費：</a:t>
            </a:r>
            <a:r>
              <a:rPr lang="en-US" altLang="ja-JP" sz="1400" kern="0">
                <a:latin typeface="Meiryo UI" panose="020B0604030504040204" pitchFamily="50" charset="-128"/>
                <a:ea typeface="Meiryo UI" panose="020B0604030504040204" pitchFamily="50" charset="-128"/>
              </a:rPr>
              <a:t>1000</a:t>
            </a:r>
            <a:r>
              <a:rPr lang="ja-JP" altLang="en-US" sz="1400" kern="0">
                <a:latin typeface="Meiryo UI" panose="020B0604030504040204" pitchFamily="50" charset="-128"/>
                <a:ea typeface="Meiryo UI" panose="020B0604030504040204" pitchFamily="50" charset="-128"/>
              </a:rPr>
              <a:t>万円</a:t>
            </a:r>
          </a:p>
        </p:txBody>
      </p:sp>
      <p:sp>
        <p:nvSpPr>
          <p:cNvPr id="19" name="テキスト ボックス 18">
            <a:extLst>
              <a:ext uri="{FF2B5EF4-FFF2-40B4-BE49-F238E27FC236}">
                <a16:creationId xmlns:a16="http://schemas.microsoft.com/office/drawing/2014/main" id="{70655089-C22E-1EE4-6F68-B206036D0154}"/>
              </a:ext>
            </a:extLst>
          </p:cNvPr>
          <p:cNvSpPr txBox="1"/>
          <p:nvPr/>
        </p:nvSpPr>
        <p:spPr>
          <a:xfrm>
            <a:off x="4194957" y="896719"/>
            <a:ext cx="5029023" cy="2977228"/>
          </a:xfrm>
          <a:prstGeom prst="rect">
            <a:avLst/>
          </a:prstGeom>
          <a:noFill/>
        </p:spPr>
        <p:txBody>
          <a:bodyPr wrap="square">
            <a:noAutofit/>
          </a:bodyPr>
          <a:lstStyle/>
          <a:p>
            <a:pPr lvl="0" defTabSz="906146">
              <a:defRPr/>
            </a:pPr>
            <a:r>
              <a:rPr lang="ja-JP" altLang="en-US" sz="1300" spc="-100" dirty="0">
                <a:latin typeface="Meiryo UI" panose="020B0604030504040204" pitchFamily="50" charset="-128"/>
                <a:ea typeface="Meiryo UI" panose="020B0604030504040204" pitchFamily="50" charset="-128"/>
              </a:rPr>
              <a:t>・人材育成カリキュラムの企画・立案</a:t>
            </a:r>
            <a:endParaRPr lang="en-US" altLang="ja-JP" sz="1300" spc="-100" dirty="0">
              <a:latin typeface="Meiryo UI" panose="020B0604030504040204" pitchFamily="50" charset="-128"/>
              <a:ea typeface="Meiryo UI" panose="020B0604030504040204" pitchFamily="50" charset="-128"/>
            </a:endParaRPr>
          </a:p>
          <a:p>
            <a:pPr lvl="0" defTabSz="906146">
              <a:defRPr/>
            </a:pPr>
            <a:r>
              <a:rPr lang="ja-JP" altLang="en-US" sz="1300" spc="-100" dirty="0">
                <a:latin typeface="Meiryo UI" panose="020B0604030504040204" pitchFamily="50" charset="-128"/>
                <a:ea typeface="Meiryo UI" panose="020B0604030504040204" pitchFamily="50" charset="-128"/>
              </a:rPr>
              <a:t>　地方公共団体と連携しつつ、カリキュラム及び教材の作成等を行う。</a:t>
            </a:r>
            <a:endParaRPr lang="en-US" altLang="ja-JP" sz="1300" spc="-100" dirty="0">
              <a:latin typeface="Meiryo UI" panose="020B0604030504040204" pitchFamily="50" charset="-128"/>
              <a:ea typeface="Meiryo UI" panose="020B0604030504040204" pitchFamily="50" charset="-128"/>
            </a:endParaRPr>
          </a:p>
          <a:p>
            <a:pPr lvl="0" defTabSz="906146">
              <a:defRPr/>
            </a:pPr>
            <a:r>
              <a:rPr lang="ja-JP" altLang="en-US" sz="1300" spc="-100" dirty="0">
                <a:latin typeface="Meiryo UI" panose="020B0604030504040204" pitchFamily="50" charset="-128"/>
                <a:ea typeface="Meiryo UI" panose="020B0604030504040204" pitchFamily="50" charset="-128"/>
              </a:rPr>
              <a:t>・講義の実施</a:t>
            </a:r>
            <a:endParaRPr lang="en-US" altLang="ja-JP" sz="1300" spc="-100" dirty="0">
              <a:latin typeface="Meiryo UI" panose="020B0604030504040204" pitchFamily="50" charset="-128"/>
              <a:ea typeface="Meiryo UI" panose="020B0604030504040204" pitchFamily="50" charset="-128"/>
            </a:endParaRPr>
          </a:p>
          <a:p>
            <a:pPr lvl="0" defTabSz="906146">
              <a:defRPr/>
            </a:pPr>
            <a:r>
              <a:rPr lang="ja-JP" altLang="en-US" sz="1300" spc="-100" dirty="0">
                <a:latin typeface="Meiryo UI" panose="020B0604030504040204" pitchFamily="50" charset="-128"/>
                <a:ea typeface="Meiryo UI" panose="020B0604030504040204" pitchFamily="50" charset="-128"/>
              </a:rPr>
              <a:t>　公共交通の専門家を招くことで、データ等に基づく施策立案の必要性についての認識を深める内容を通じて、</a:t>
            </a:r>
            <a:r>
              <a:rPr lang="en-US" altLang="ja-JP" sz="1300" spc="-100" dirty="0">
                <a:latin typeface="Meiryo UI" panose="020B0604030504040204" pitchFamily="50" charset="-128"/>
                <a:ea typeface="Meiryo UI" panose="020B0604030504040204" pitchFamily="50" charset="-128"/>
              </a:rPr>
              <a:t>EBPM</a:t>
            </a:r>
            <a:r>
              <a:rPr lang="ja-JP" altLang="en-US" sz="1300" spc="-100" dirty="0">
                <a:latin typeface="Meiryo UI" panose="020B0604030504040204" pitchFamily="50" charset="-128"/>
                <a:ea typeface="Meiryo UI" panose="020B0604030504040204" pitchFamily="50" charset="-128"/>
              </a:rPr>
              <a:t>の重要性等の地域公共交通行政の基本的な知識を取得する。具体的な作業としては、講師との日程調整や、講義の事務局運営等を行う。</a:t>
            </a:r>
            <a:endParaRPr lang="en-US" altLang="ja-JP" sz="1300" spc="-100" dirty="0">
              <a:latin typeface="Meiryo UI" panose="020B0604030504040204" pitchFamily="50" charset="-128"/>
              <a:ea typeface="Meiryo UI" panose="020B0604030504040204" pitchFamily="50" charset="-128"/>
            </a:endParaRPr>
          </a:p>
          <a:p>
            <a:pPr lvl="0" defTabSz="906146">
              <a:defRPr/>
            </a:pPr>
            <a:r>
              <a:rPr lang="ja-JP" altLang="en-US" sz="1300" spc="-100" dirty="0">
                <a:latin typeface="Meiryo UI" panose="020B0604030504040204" pitchFamily="50" charset="-128"/>
                <a:ea typeface="Meiryo UI" panose="020B0604030504040204" pitchFamily="50" charset="-128"/>
              </a:rPr>
              <a:t>・</a:t>
            </a:r>
            <a:r>
              <a:rPr lang="en-US" altLang="ja-JP" sz="1300" spc="-100" dirty="0">
                <a:latin typeface="Meiryo UI" panose="020B0604030504040204" pitchFamily="50" charset="-128"/>
                <a:ea typeface="Meiryo UI" panose="020B0604030504040204" pitchFamily="50" charset="-128"/>
              </a:rPr>
              <a:t>OJT</a:t>
            </a:r>
            <a:r>
              <a:rPr lang="ja-JP" altLang="en-US" sz="1300" spc="-100" dirty="0">
                <a:latin typeface="Meiryo UI" panose="020B0604030504040204" pitchFamily="50" charset="-128"/>
                <a:ea typeface="Meiryo UI" panose="020B0604030504040204" pitchFamily="50" charset="-128"/>
              </a:rPr>
              <a:t>・ワークショップの実施</a:t>
            </a:r>
            <a:endParaRPr lang="en-US" altLang="ja-JP" sz="1300" spc="-100" dirty="0">
              <a:latin typeface="Meiryo UI" panose="020B0604030504040204" pitchFamily="50" charset="-128"/>
              <a:ea typeface="Meiryo UI" panose="020B0604030504040204" pitchFamily="50" charset="-128"/>
            </a:endParaRPr>
          </a:p>
          <a:p>
            <a:pPr lvl="0" defTabSz="906146">
              <a:defRPr/>
            </a:pPr>
            <a:r>
              <a:rPr lang="ja-JP" altLang="en-US" sz="1300" spc="-100" dirty="0">
                <a:latin typeface="Meiryo UI" panose="020B0604030504040204" pitchFamily="50" charset="-128"/>
                <a:ea typeface="Meiryo UI" panose="020B0604030504040204" pitchFamily="50" charset="-128"/>
              </a:rPr>
              <a:t>　実際の地域内の交通データを活用した施策立案の流れをハンズオンで経験し、</a:t>
            </a:r>
            <a:r>
              <a:rPr lang="en-US" altLang="ja-JP" sz="1300" spc="-100" dirty="0">
                <a:latin typeface="Meiryo UI" panose="020B0604030504040204" pitchFamily="50" charset="-128"/>
                <a:ea typeface="Meiryo UI" panose="020B0604030504040204" pitchFamily="50" charset="-128"/>
              </a:rPr>
              <a:t>EBPM</a:t>
            </a:r>
            <a:r>
              <a:rPr lang="ja-JP" altLang="en-US" sz="1300" spc="-100" dirty="0">
                <a:latin typeface="Meiryo UI" panose="020B0604030504040204" pitchFamily="50" charset="-128"/>
                <a:ea typeface="Meiryo UI" panose="020B0604030504040204" pitchFamily="50" charset="-128"/>
              </a:rPr>
              <a:t>の推進に向けた課題及び対策を把握することで、スキルの習得及び理解の向上を図る。その後、意見交換を関係者間で行い、その結果を専門家から講評を受け、自身で行ったデータ分析結果等を振り返ることで、一段階高いスキルの習得を図る。具体的な作業としては、日程調整や会場の手配、当日の</a:t>
            </a:r>
            <a:r>
              <a:rPr lang="en-US" altLang="ja-JP" sz="1300" spc="-100" dirty="0">
                <a:latin typeface="Meiryo UI" panose="020B0604030504040204" pitchFamily="50" charset="-128"/>
                <a:ea typeface="Meiryo UI" panose="020B0604030504040204" pitchFamily="50" charset="-128"/>
              </a:rPr>
              <a:t>OJT</a:t>
            </a:r>
            <a:r>
              <a:rPr lang="ja-JP" altLang="en-US" sz="1300" spc="-100" dirty="0">
                <a:latin typeface="Meiryo UI" panose="020B0604030504040204" pitchFamily="50" charset="-128"/>
                <a:ea typeface="Meiryo UI" panose="020B0604030504040204" pitchFamily="50" charset="-128"/>
              </a:rPr>
              <a:t>・ワークショップの事務局運営等を行う。</a:t>
            </a:r>
            <a:endParaRPr lang="en-US" altLang="ja-JP" sz="1300" spc="-100" dirty="0">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6379567B-6C5D-DEF1-0F0E-53131835E105}"/>
              </a:ext>
            </a:extLst>
          </p:cNvPr>
          <p:cNvSpPr txBox="1"/>
          <p:nvPr/>
        </p:nvSpPr>
        <p:spPr>
          <a:xfrm>
            <a:off x="6634577" y="31647"/>
            <a:ext cx="2420646" cy="289441"/>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050" b="1">
                <a:solidFill>
                  <a:schemeClr val="bg1"/>
                </a:solidFill>
                <a:latin typeface="Meiryo UI" panose="020B0604030504040204" pitchFamily="50" charset="-128"/>
                <a:ea typeface="Meiryo UI" panose="020B0604030504040204" pitchFamily="50" charset="-128"/>
              </a:rPr>
              <a:t>モビリティ人材・組織育成タイプ</a:t>
            </a:r>
          </a:p>
        </p:txBody>
      </p:sp>
      <p:sp>
        <p:nvSpPr>
          <p:cNvPr id="12" name="テキスト ボックス 11">
            <a:extLst>
              <a:ext uri="{FF2B5EF4-FFF2-40B4-BE49-F238E27FC236}">
                <a16:creationId xmlns:a16="http://schemas.microsoft.com/office/drawing/2014/main" id="{B3B04E96-5D2F-B98E-135F-631E6ECA239A}"/>
              </a:ext>
            </a:extLst>
          </p:cNvPr>
          <p:cNvSpPr txBox="1"/>
          <p:nvPr/>
        </p:nvSpPr>
        <p:spPr>
          <a:xfrm>
            <a:off x="8253548" y="339874"/>
            <a:ext cx="766768" cy="205018"/>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ア</a:t>
            </a:r>
          </a:p>
        </p:txBody>
      </p:sp>
    </p:spTree>
    <p:extLst>
      <p:ext uri="{BB962C8B-B14F-4D97-AF65-F5344CB8AC3E}">
        <p14:creationId xmlns:p14="http://schemas.microsoft.com/office/powerpoint/2010/main" val="2206337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C5762-C301-4BD6-2915-5B6FDD790B8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82A9CE-43D2-36E8-5FA3-352B0E6BB2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1982A9CE-43D2-36E8-5FA3-352B0E6BB2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正方形/長方形 55">
            <a:extLst>
              <a:ext uri="{FF2B5EF4-FFF2-40B4-BE49-F238E27FC236}">
                <a16:creationId xmlns:a16="http://schemas.microsoft.com/office/drawing/2014/main" id="{48F8FA18-29F8-4E33-ABDC-3732705F8748}"/>
              </a:ext>
            </a:extLst>
          </p:cNvPr>
          <p:cNvSpPr/>
          <p:nvPr/>
        </p:nvSpPr>
        <p:spPr>
          <a:xfrm>
            <a:off x="63878" y="1041305"/>
            <a:ext cx="9016243" cy="5273490"/>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defRPr/>
            </a:pPr>
            <a:endParaRPr lang="en-US" altLang="ja-JP" sz="1400" kern="0">
              <a:solidFill>
                <a:schemeClr val="tx1"/>
              </a:solidFill>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AFB0AAA2-199C-C16D-47B5-07E8AE7DE238}"/>
              </a:ext>
            </a:extLst>
          </p:cNvPr>
          <p:cNvSpPr txBox="1"/>
          <p:nvPr/>
        </p:nvSpPr>
        <p:spPr>
          <a:xfrm>
            <a:off x="80962" y="628207"/>
            <a:ext cx="1207859" cy="323493"/>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defRPr sz="1300" b="1">
                <a:solidFill>
                  <a:schemeClr val="bg1"/>
                </a:solidFill>
                <a:latin typeface="Meiryo UI" panose="020B0604030504040204" pitchFamily="50" charset="-128"/>
                <a:ea typeface="Meiryo UI" panose="020B0604030504040204" pitchFamily="50" charset="-128"/>
              </a:defRPr>
            </a:lvl1pPr>
          </a:lstStyle>
          <a:p>
            <a:pPr algn="ctr"/>
            <a:r>
              <a:rPr lang="ja-JP" altLang="en-US" sz="1400"/>
              <a:t>事業実施体制</a:t>
            </a:r>
          </a:p>
        </p:txBody>
      </p:sp>
      <p:sp>
        <p:nvSpPr>
          <p:cNvPr id="17" name="四角形: 角を丸くする 16">
            <a:extLst>
              <a:ext uri="{FF2B5EF4-FFF2-40B4-BE49-F238E27FC236}">
                <a16:creationId xmlns:a16="http://schemas.microsoft.com/office/drawing/2014/main" id="{61D4F04B-3072-576E-10AB-6286ECFAF872}"/>
              </a:ext>
            </a:extLst>
          </p:cNvPr>
          <p:cNvSpPr/>
          <p:nvPr/>
        </p:nvSpPr>
        <p:spPr bwMode="auto">
          <a:xfrm>
            <a:off x="5362666" y="3207861"/>
            <a:ext cx="1046464" cy="374571"/>
          </a:xfrm>
          <a:prstGeom prst="round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i="0" u="none" strike="noStrike" cap="none" normalizeH="0" baseline="0">
                <a:ln>
                  <a:noFill/>
                </a:ln>
                <a:effectLst/>
                <a:latin typeface="Meiryo UI" panose="020B0604030504040204" pitchFamily="50" charset="-128"/>
                <a:ea typeface="Meiryo UI" panose="020B0604030504040204" pitchFamily="50" charset="-128"/>
              </a:rPr>
              <a:t>講義依頼</a:t>
            </a:r>
          </a:p>
        </p:txBody>
      </p:sp>
      <p:sp>
        <p:nvSpPr>
          <p:cNvPr id="18" name="四角形: 角を丸くする 17">
            <a:extLst>
              <a:ext uri="{FF2B5EF4-FFF2-40B4-BE49-F238E27FC236}">
                <a16:creationId xmlns:a16="http://schemas.microsoft.com/office/drawing/2014/main" id="{3828B32A-1676-FE9F-F8A9-03AC8326092F}"/>
              </a:ext>
            </a:extLst>
          </p:cNvPr>
          <p:cNvSpPr/>
          <p:nvPr/>
        </p:nvSpPr>
        <p:spPr bwMode="auto">
          <a:xfrm>
            <a:off x="3202181" y="2582004"/>
            <a:ext cx="2739637" cy="612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a:latin typeface="Meiryo UI" panose="020B0604030504040204" pitchFamily="50" charset="-128"/>
                <a:ea typeface="Meiryo UI" panose="020B0604030504040204" pitchFamily="50" charset="-128"/>
              </a:rPr>
              <a:t>株式会社</a:t>
            </a:r>
            <a:r>
              <a:rPr lang="en-US" altLang="ja-JP" sz="1600">
                <a:latin typeface="Meiryo UI" panose="020B0604030504040204" pitchFamily="50" charset="-128"/>
                <a:ea typeface="Meiryo UI" panose="020B0604030504040204" pitchFamily="50" charset="-128"/>
              </a:rPr>
              <a:t>X</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algn="ctr" eaLnBrk="0" hangingPunct="0"/>
            <a:r>
              <a:rPr lang="ja-JP" altLang="en-US" sz="1400">
                <a:latin typeface="Meiryo UI" panose="020B0604030504040204" pitchFamily="50" charset="-128"/>
                <a:ea typeface="Meiryo UI" panose="020B0604030504040204" pitchFamily="50" charset="-128"/>
              </a:rPr>
              <a:t>事業主体</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交付申請予定者</a:t>
            </a:r>
            <a:r>
              <a:rPr lang="en-US" altLang="ja-JP" sz="1400">
                <a:latin typeface="Meiryo UI" panose="020B0604030504040204" pitchFamily="50" charset="-128"/>
                <a:ea typeface="Meiryo UI" panose="020B0604030504040204" pitchFamily="50" charset="-128"/>
              </a:rPr>
              <a:t>)</a:t>
            </a:r>
            <a:endParaRPr lang="ja-JP" altLang="en-US" sz="1400">
              <a:latin typeface="Meiryo UI" panose="020B0604030504040204" pitchFamily="50" charset="-128"/>
              <a:ea typeface="Meiryo UI" panose="020B0604030504040204" pitchFamily="50" charset="-128"/>
            </a:endParaRPr>
          </a:p>
        </p:txBody>
      </p:sp>
      <p:grpSp>
        <p:nvGrpSpPr>
          <p:cNvPr id="27" name="グループ化 26">
            <a:extLst>
              <a:ext uri="{FF2B5EF4-FFF2-40B4-BE49-F238E27FC236}">
                <a16:creationId xmlns:a16="http://schemas.microsoft.com/office/drawing/2014/main" id="{5478EC83-9C5B-0744-5A83-634EDBDEED28}"/>
              </a:ext>
            </a:extLst>
          </p:cNvPr>
          <p:cNvGrpSpPr/>
          <p:nvPr/>
        </p:nvGrpSpPr>
        <p:grpSpPr>
          <a:xfrm>
            <a:off x="436523" y="4476053"/>
            <a:ext cx="8270953" cy="1540903"/>
            <a:chOff x="436523" y="4377939"/>
            <a:chExt cx="8270953" cy="1540903"/>
          </a:xfrm>
        </p:grpSpPr>
        <p:sp>
          <p:nvSpPr>
            <p:cNvPr id="3" name="四角形: 角を丸くする 2">
              <a:extLst>
                <a:ext uri="{FF2B5EF4-FFF2-40B4-BE49-F238E27FC236}">
                  <a16:creationId xmlns:a16="http://schemas.microsoft.com/office/drawing/2014/main" id="{1391DEF3-0293-5FD7-D093-110B933AEF95}"/>
                </a:ext>
              </a:extLst>
            </p:cNvPr>
            <p:cNvSpPr/>
            <p:nvPr/>
          </p:nvSpPr>
          <p:spPr bwMode="auto">
            <a:xfrm>
              <a:off x="436523" y="4377939"/>
              <a:ext cx="8270953" cy="1540903"/>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en-US" altLang="ja-JP" sz="1600" b="0" i="0" u="none" strike="noStrike" cap="none" normalizeH="0" baseline="0">
                  <a:ln>
                    <a:noFill/>
                  </a:ln>
                  <a:effectLst/>
                  <a:latin typeface="Meiryo UI" panose="020B0604030504040204" pitchFamily="50" charset="-128"/>
                  <a:ea typeface="Meiryo UI" panose="020B0604030504040204" pitchFamily="50" charset="-128"/>
                </a:rPr>
                <a:t>XX</a:t>
              </a: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圏域</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lang="ja-JP" altLang="en-US" sz="1400">
                  <a:latin typeface="Meiryo UI" panose="020B0604030504040204" pitchFamily="50" charset="-128"/>
                  <a:ea typeface="Meiryo UI" panose="020B0604030504040204" pitchFamily="50" charset="-128"/>
                </a:rPr>
                <a:t>公共交通担当者</a:t>
              </a:r>
              <a:endParaRPr kumimoji="1" lang="ja-JP" altLang="en-US" sz="1400" b="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20" name="四角形: 角を丸くする 19">
              <a:extLst>
                <a:ext uri="{FF2B5EF4-FFF2-40B4-BE49-F238E27FC236}">
                  <a16:creationId xmlns:a16="http://schemas.microsoft.com/office/drawing/2014/main" id="{881A8FA4-FE50-8F75-FD97-64C8891B6EFC}"/>
                </a:ext>
              </a:extLst>
            </p:cNvPr>
            <p:cNvSpPr/>
            <p:nvPr/>
          </p:nvSpPr>
          <p:spPr bwMode="auto">
            <a:xfrm>
              <a:off x="654024" y="5035500"/>
              <a:ext cx="135236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ja-JP" sz="1600">
                  <a:latin typeface="Meiryo UI" panose="020B0604030504040204" pitchFamily="50" charset="-128"/>
                  <a:ea typeface="Meiryo UI" panose="020B0604030504040204" pitchFamily="50" charset="-128"/>
                </a:rPr>
                <a:t>XX</a:t>
              </a:r>
              <a:r>
                <a:rPr lang="ja-JP" altLang="en-US" sz="1600">
                  <a:latin typeface="Meiryo UI" panose="020B0604030504040204" pitchFamily="50" charset="-128"/>
                  <a:ea typeface="Meiryo UI" panose="020B0604030504040204" pitchFamily="50" charset="-128"/>
                </a:rPr>
                <a:t>市</a:t>
              </a:r>
              <a:endParaRPr lang="en-US" altLang="ja-JP" sz="1600">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a:t>
              </a:r>
              <a:r>
                <a:rPr kumimoji="1" lang="en-US" altLang="ja-JP" sz="1600" b="0" i="0" u="none" strike="noStrike" cap="none" normalizeH="0" baseline="0">
                  <a:ln>
                    <a:noFill/>
                  </a:ln>
                  <a:effectLst/>
                  <a:latin typeface="Meiryo UI" panose="020B0604030504040204" pitchFamily="50" charset="-128"/>
                  <a:ea typeface="Meiryo UI" panose="020B0604030504040204" pitchFamily="50" charset="-128"/>
                </a:rPr>
                <a:t>X</a:t>
              </a: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名）</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22" name="四角形: 角を丸くする 21">
              <a:extLst>
                <a:ext uri="{FF2B5EF4-FFF2-40B4-BE49-F238E27FC236}">
                  <a16:creationId xmlns:a16="http://schemas.microsoft.com/office/drawing/2014/main" id="{46DE593E-E57F-DF47-F31F-FC93570C4989}"/>
                </a:ext>
              </a:extLst>
            </p:cNvPr>
            <p:cNvSpPr/>
            <p:nvPr/>
          </p:nvSpPr>
          <p:spPr bwMode="auto">
            <a:xfrm>
              <a:off x="3895816" y="5035500"/>
              <a:ext cx="135236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en-US" altLang="ja-JP" sz="1600" b="0" i="0" u="none" strike="noStrike" cap="none" normalizeH="0" baseline="0">
                  <a:ln>
                    <a:noFill/>
                  </a:ln>
                  <a:effectLst/>
                  <a:latin typeface="Meiryo UI" panose="020B0604030504040204" pitchFamily="50" charset="-128"/>
                  <a:ea typeface="Meiryo UI" panose="020B0604030504040204" pitchFamily="50" charset="-128"/>
                </a:rPr>
                <a:t>XX</a:t>
              </a: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町</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algn="ctr" eaLnBrk="0" hangingPunct="0"/>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X</a:t>
              </a:r>
              <a:r>
                <a:rPr lang="ja-JP" altLang="en-US" sz="1600">
                  <a:latin typeface="Meiryo UI" panose="020B0604030504040204" pitchFamily="50" charset="-128"/>
                  <a:ea typeface="Meiryo UI" panose="020B0604030504040204" pitchFamily="50" charset="-128"/>
                </a:rPr>
                <a:t>名）</a:t>
              </a:r>
              <a:endParaRPr lang="en-US" altLang="ja-JP" sz="1600">
                <a:latin typeface="Meiryo UI" panose="020B0604030504040204" pitchFamily="50" charset="-128"/>
                <a:ea typeface="Meiryo UI" panose="020B0604030504040204" pitchFamily="50" charset="-128"/>
              </a:endParaRPr>
            </a:p>
          </p:txBody>
        </p:sp>
        <p:sp>
          <p:nvSpPr>
            <p:cNvPr id="24" name="四角形: 角を丸くする 23">
              <a:extLst>
                <a:ext uri="{FF2B5EF4-FFF2-40B4-BE49-F238E27FC236}">
                  <a16:creationId xmlns:a16="http://schemas.microsoft.com/office/drawing/2014/main" id="{6B841355-0869-8308-5039-961FDC6764FF}"/>
                </a:ext>
              </a:extLst>
            </p:cNvPr>
            <p:cNvSpPr/>
            <p:nvPr/>
          </p:nvSpPr>
          <p:spPr bwMode="auto">
            <a:xfrm>
              <a:off x="7137609" y="5035500"/>
              <a:ext cx="135236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en-US" altLang="ja-JP" sz="1600" b="0" i="0" u="none" strike="noStrike" cap="none" normalizeH="0" baseline="0">
                  <a:ln>
                    <a:noFill/>
                  </a:ln>
                  <a:effectLst/>
                  <a:latin typeface="Meiryo UI" panose="020B0604030504040204" pitchFamily="50" charset="-128"/>
                  <a:ea typeface="Meiryo UI" panose="020B0604030504040204" pitchFamily="50" charset="-128"/>
                </a:rPr>
                <a:t>XX</a:t>
              </a: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村</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algn="ctr" eaLnBrk="0" hangingPunct="0"/>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X</a:t>
              </a:r>
              <a:r>
                <a:rPr lang="ja-JP" altLang="en-US" sz="1600">
                  <a:latin typeface="Meiryo UI" panose="020B0604030504040204" pitchFamily="50" charset="-128"/>
                  <a:ea typeface="Meiryo UI" panose="020B0604030504040204" pitchFamily="50" charset="-128"/>
                </a:rPr>
                <a:t>名）</a:t>
              </a:r>
              <a:endParaRPr lang="en-US" altLang="ja-JP" sz="1600">
                <a:latin typeface="Meiryo UI" panose="020B0604030504040204" pitchFamily="50" charset="-128"/>
                <a:ea typeface="Meiryo UI" panose="020B0604030504040204" pitchFamily="50" charset="-128"/>
              </a:endParaRPr>
            </a:p>
          </p:txBody>
        </p:sp>
        <p:sp>
          <p:nvSpPr>
            <p:cNvPr id="25" name="四角形: 角を丸くする 24">
              <a:extLst>
                <a:ext uri="{FF2B5EF4-FFF2-40B4-BE49-F238E27FC236}">
                  <a16:creationId xmlns:a16="http://schemas.microsoft.com/office/drawing/2014/main" id="{883B2BC7-5620-E543-F385-1ED3562844B4}"/>
                </a:ext>
              </a:extLst>
            </p:cNvPr>
            <p:cNvSpPr/>
            <p:nvPr/>
          </p:nvSpPr>
          <p:spPr bwMode="auto">
            <a:xfrm>
              <a:off x="2274920" y="5035500"/>
              <a:ext cx="135236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ja-JP" sz="1600">
                  <a:latin typeface="Meiryo UI" panose="020B0604030504040204" pitchFamily="50" charset="-128"/>
                  <a:ea typeface="Meiryo UI" panose="020B0604030504040204" pitchFamily="50" charset="-128"/>
                </a:rPr>
                <a:t>YY</a:t>
              </a:r>
              <a:r>
                <a:rPr lang="ja-JP" altLang="en-US" sz="1600">
                  <a:latin typeface="Meiryo UI" panose="020B0604030504040204" pitchFamily="50" charset="-128"/>
                  <a:ea typeface="Meiryo UI" panose="020B0604030504040204" pitchFamily="50" charset="-128"/>
                </a:rPr>
                <a:t>市</a:t>
              </a:r>
              <a:endParaRPr lang="en-US" altLang="ja-JP" sz="1600">
                <a:latin typeface="Meiryo UI" panose="020B0604030504040204" pitchFamily="50" charset="-128"/>
                <a:ea typeface="Meiryo UI" panose="020B0604030504040204" pitchFamily="50" charset="-128"/>
              </a:endParaRPr>
            </a:p>
            <a:p>
              <a:pPr algn="ctr" eaLnBrk="0" hangingPunct="0"/>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X</a:t>
              </a:r>
              <a:r>
                <a:rPr lang="ja-JP" altLang="en-US" sz="1600">
                  <a:latin typeface="Meiryo UI" panose="020B0604030504040204" pitchFamily="50" charset="-128"/>
                  <a:ea typeface="Meiryo UI" panose="020B0604030504040204" pitchFamily="50" charset="-128"/>
                </a:rPr>
                <a:t>名）</a:t>
              </a:r>
              <a:endParaRPr lang="en-US" altLang="ja-JP" sz="1600">
                <a:latin typeface="Meiryo UI" panose="020B0604030504040204" pitchFamily="50" charset="-128"/>
                <a:ea typeface="Meiryo UI" panose="020B0604030504040204" pitchFamily="50" charset="-128"/>
              </a:endParaRPr>
            </a:p>
          </p:txBody>
        </p:sp>
        <p:sp>
          <p:nvSpPr>
            <p:cNvPr id="26" name="四角形: 角を丸くする 25">
              <a:extLst>
                <a:ext uri="{FF2B5EF4-FFF2-40B4-BE49-F238E27FC236}">
                  <a16:creationId xmlns:a16="http://schemas.microsoft.com/office/drawing/2014/main" id="{76259BD6-700D-1C87-0681-82B095FFC074}"/>
                </a:ext>
              </a:extLst>
            </p:cNvPr>
            <p:cNvSpPr/>
            <p:nvPr/>
          </p:nvSpPr>
          <p:spPr bwMode="auto">
            <a:xfrm>
              <a:off x="5516712" y="5035500"/>
              <a:ext cx="135236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ja-JP" sz="1600">
                  <a:latin typeface="Meiryo UI" panose="020B0604030504040204" pitchFamily="50" charset="-128"/>
                  <a:ea typeface="Meiryo UI" panose="020B0604030504040204" pitchFamily="50" charset="-128"/>
                </a:rPr>
                <a:t>YY</a:t>
              </a: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町</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algn="ctr" eaLnBrk="0" hangingPunct="0"/>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X</a:t>
              </a:r>
              <a:r>
                <a:rPr lang="ja-JP" altLang="en-US" sz="1600">
                  <a:latin typeface="Meiryo UI" panose="020B0604030504040204" pitchFamily="50" charset="-128"/>
                  <a:ea typeface="Meiryo UI" panose="020B0604030504040204" pitchFamily="50" charset="-128"/>
                </a:rPr>
                <a:t>名）</a:t>
              </a:r>
              <a:endParaRPr lang="en-US" altLang="ja-JP" sz="1600">
                <a:latin typeface="Meiryo UI" panose="020B0604030504040204" pitchFamily="50" charset="-128"/>
                <a:ea typeface="Meiryo UI" panose="020B0604030504040204" pitchFamily="50" charset="-128"/>
              </a:endParaRPr>
            </a:p>
          </p:txBody>
        </p:sp>
      </p:grpSp>
      <p:sp>
        <p:nvSpPr>
          <p:cNvPr id="28" name="四角形: 角を丸くする 27">
            <a:extLst>
              <a:ext uri="{FF2B5EF4-FFF2-40B4-BE49-F238E27FC236}">
                <a16:creationId xmlns:a16="http://schemas.microsoft.com/office/drawing/2014/main" id="{9E81E623-04E7-FAC7-C300-5046B01DF80A}"/>
              </a:ext>
            </a:extLst>
          </p:cNvPr>
          <p:cNvSpPr/>
          <p:nvPr/>
        </p:nvSpPr>
        <p:spPr bwMode="auto">
          <a:xfrm>
            <a:off x="5745810" y="2682286"/>
            <a:ext cx="2064532" cy="374571"/>
          </a:xfrm>
          <a:prstGeom prst="round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a:latin typeface="Meiryo UI" panose="020B0604030504040204" pitchFamily="50" charset="-128"/>
                <a:ea typeface="Meiryo UI" panose="020B0604030504040204" pitchFamily="50" charset="-128"/>
              </a:rPr>
              <a:t>（プログラム提供）</a:t>
            </a:r>
            <a:endParaRPr kumimoji="1" lang="ja-JP" altLang="en-US" sz="160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5" name="タイトル 1">
            <a:extLst>
              <a:ext uri="{FF2B5EF4-FFF2-40B4-BE49-F238E27FC236}">
                <a16:creationId xmlns:a16="http://schemas.microsoft.com/office/drawing/2014/main" id="{60E69B04-F3A6-ECDE-F456-3E47D57E8A4E}"/>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県〇市、△市</a:t>
            </a: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XX</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圏域における各市町村の交通担当者に対する</a:t>
            </a:r>
            <a:endPar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a:p>
            <a:pPr marL="0" marR="0" lvl="0" indent="0" algn="l" defTabSz="719255" rtl="0" eaLnBrk="1" fontAlgn="base" latinLnBrk="0" hangingPunct="1">
              <a:lnSpc>
                <a:spcPct val="100000"/>
              </a:lnSpc>
              <a:spcBef>
                <a:spcPct val="0"/>
              </a:spcBef>
              <a:spcAft>
                <a:spcPct val="0"/>
              </a:spcAft>
              <a:buClrTx/>
              <a:buSzTx/>
              <a:buFontTx/>
              <a:buNone/>
              <a:tabLst/>
              <a:defRPr/>
            </a:pP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モビリティデータに基づく</a:t>
            </a: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EBPM</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推進に向けた人材育成プログラム</a:t>
            </a:r>
          </a:p>
        </p:txBody>
      </p:sp>
      <p:sp>
        <p:nvSpPr>
          <p:cNvPr id="23" name="四角形: 角を丸くする 22">
            <a:extLst>
              <a:ext uri="{FF2B5EF4-FFF2-40B4-BE49-F238E27FC236}">
                <a16:creationId xmlns:a16="http://schemas.microsoft.com/office/drawing/2014/main" id="{95AEEAA5-038B-3D74-D71F-72C793819E20}"/>
              </a:ext>
            </a:extLst>
          </p:cNvPr>
          <p:cNvSpPr/>
          <p:nvPr/>
        </p:nvSpPr>
        <p:spPr bwMode="auto">
          <a:xfrm>
            <a:off x="5881008" y="3714317"/>
            <a:ext cx="1046464" cy="374571"/>
          </a:xfrm>
          <a:prstGeom prst="round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a:latin typeface="Meiryo UI" panose="020B0604030504040204" pitchFamily="50" charset="-128"/>
                <a:ea typeface="Meiryo UI" panose="020B0604030504040204" pitchFamily="50" charset="-128"/>
              </a:rPr>
              <a:t>（講師）</a:t>
            </a:r>
            <a:endParaRPr kumimoji="1" lang="ja-JP" altLang="en-US" sz="160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62" name="四角形: 角を丸くする 61">
            <a:extLst>
              <a:ext uri="{FF2B5EF4-FFF2-40B4-BE49-F238E27FC236}">
                <a16:creationId xmlns:a16="http://schemas.microsoft.com/office/drawing/2014/main" id="{F4E1F247-26DE-BB31-CAB4-3AB047232397}"/>
              </a:ext>
            </a:extLst>
          </p:cNvPr>
          <p:cNvSpPr/>
          <p:nvPr/>
        </p:nvSpPr>
        <p:spPr bwMode="auto">
          <a:xfrm>
            <a:off x="1715739" y="3728707"/>
            <a:ext cx="1663079" cy="374571"/>
          </a:xfrm>
          <a:prstGeom prst="round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a:latin typeface="Meiryo UI" panose="020B0604030504040204" pitchFamily="50" charset="-128"/>
                <a:ea typeface="Meiryo UI" panose="020B0604030504040204" pitchFamily="50" charset="-128"/>
              </a:rPr>
              <a:t>（当日運営）</a:t>
            </a:r>
            <a:endParaRPr kumimoji="1" lang="ja-JP" altLang="en-US" sz="160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63" name="四角形: 角を丸くする 62">
            <a:extLst>
              <a:ext uri="{FF2B5EF4-FFF2-40B4-BE49-F238E27FC236}">
                <a16:creationId xmlns:a16="http://schemas.microsoft.com/office/drawing/2014/main" id="{5001578A-BF41-F852-058C-0604EE9E3016}"/>
              </a:ext>
            </a:extLst>
          </p:cNvPr>
          <p:cNvSpPr/>
          <p:nvPr/>
        </p:nvSpPr>
        <p:spPr bwMode="auto">
          <a:xfrm>
            <a:off x="2735051" y="3217653"/>
            <a:ext cx="1046464" cy="374571"/>
          </a:xfrm>
          <a:prstGeom prst="round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i="0" u="none" strike="noStrike" cap="none" normalizeH="0" baseline="0">
                <a:ln>
                  <a:noFill/>
                </a:ln>
                <a:effectLst/>
                <a:latin typeface="Meiryo UI" panose="020B0604030504040204" pitchFamily="50" charset="-128"/>
                <a:ea typeface="Meiryo UI" panose="020B0604030504040204" pitchFamily="50" charset="-128"/>
              </a:rPr>
              <a:t>業務委託</a:t>
            </a:r>
          </a:p>
        </p:txBody>
      </p:sp>
      <p:cxnSp>
        <p:nvCxnSpPr>
          <p:cNvPr id="7" name="直線矢印コネクタ 6">
            <a:extLst>
              <a:ext uri="{FF2B5EF4-FFF2-40B4-BE49-F238E27FC236}">
                <a16:creationId xmlns:a16="http://schemas.microsoft.com/office/drawing/2014/main" id="{89E4C52A-CFAC-A790-9D72-13D5142F73D0}"/>
              </a:ext>
            </a:extLst>
          </p:cNvPr>
          <p:cNvCxnSpPr>
            <a:cxnSpLocks/>
          </p:cNvCxnSpPr>
          <p:nvPr/>
        </p:nvCxnSpPr>
        <p:spPr bwMode="auto">
          <a:xfrm>
            <a:off x="3781516" y="3200404"/>
            <a:ext cx="0" cy="1224000"/>
          </a:xfrm>
          <a:prstGeom prst="straightConnector1">
            <a:avLst/>
          </a:prstGeom>
          <a:solidFill>
            <a:schemeClr val="bg1"/>
          </a:solidFill>
          <a:ln w="12700" cap="flat" cmpd="sng" algn="ctr">
            <a:solidFill>
              <a:schemeClr val="tx1"/>
            </a:solidFill>
            <a:prstDash val="solid"/>
            <a:round/>
            <a:headEnd type="none" w="med" len="med"/>
            <a:tailEnd type="triangle"/>
          </a:ln>
          <a:effectLst/>
        </p:spPr>
      </p:cxnSp>
      <p:cxnSp>
        <p:nvCxnSpPr>
          <p:cNvPr id="15" name="直線矢印コネクタ 14">
            <a:extLst>
              <a:ext uri="{FF2B5EF4-FFF2-40B4-BE49-F238E27FC236}">
                <a16:creationId xmlns:a16="http://schemas.microsoft.com/office/drawing/2014/main" id="{140CB892-EF20-2B41-D051-5637E4FFD1A7}"/>
              </a:ext>
            </a:extLst>
          </p:cNvPr>
          <p:cNvCxnSpPr>
            <a:cxnSpLocks/>
          </p:cNvCxnSpPr>
          <p:nvPr/>
        </p:nvCxnSpPr>
        <p:spPr bwMode="auto">
          <a:xfrm>
            <a:off x="5362666" y="3200404"/>
            <a:ext cx="0" cy="1224000"/>
          </a:xfrm>
          <a:prstGeom prst="straightConnector1">
            <a:avLst/>
          </a:prstGeom>
          <a:solidFill>
            <a:schemeClr val="bg1"/>
          </a:solidFill>
          <a:ln w="12700" cap="flat" cmpd="sng" algn="ctr">
            <a:solidFill>
              <a:schemeClr val="tx1"/>
            </a:solidFill>
            <a:prstDash val="solid"/>
            <a:round/>
            <a:headEnd type="none" w="med" len="med"/>
            <a:tailEnd type="triangle"/>
          </a:ln>
          <a:effectLst/>
        </p:spPr>
      </p:cxnSp>
      <p:sp>
        <p:nvSpPr>
          <p:cNvPr id="54" name="四角形: 角を丸くする 53">
            <a:extLst>
              <a:ext uri="{FF2B5EF4-FFF2-40B4-BE49-F238E27FC236}">
                <a16:creationId xmlns:a16="http://schemas.microsoft.com/office/drawing/2014/main" id="{4CEEE4A6-82E6-91DF-0984-BCF02A48A13B}"/>
              </a:ext>
            </a:extLst>
          </p:cNvPr>
          <p:cNvSpPr/>
          <p:nvPr/>
        </p:nvSpPr>
        <p:spPr bwMode="auto">
          <a:xfrm>
            <a:off x="3164307" y="3641961"/>
            <a:ext cx="1271248" cy="505573"/>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hangingPunct="0"/>
            <a:r>
              <a:rPr lang="ja-JP" altLang="en-US" sz="1600">
                <a:latin typeface="Meiryo UI" panose="020B0604030504040204" pitchFamily="50" charset="-128"/>
                <a:ea typeface="Meiryo UI" panose="020B0604030504040204" pitchFamily="50" charset="-128"/>
              </a:rPr>
              <a:t>株式会社</a:t>
            </a:r>
            <a:r>
              <a:rPr lang="en-US" altLang="ja-JP" sz="1600">
                <a:latin typeface="Meiryo UI" panose="020B0604030504040204" pitchFamily="50" charset="-128"/>
                <a:ea typeface="Meiryo UI" panose="020B0604030504040204" pitchFamily="50" charset="-128"/>
              </a:rPr>
              <a:t>Y</a:t>
            </a:r>
            <a:endParaRPr lang="ja-JP" altLang="en-US" sz="1400">
              <a:latin typeface="Meiryo UI" panose="020B0604030504040204" pitchFamily="50" charset="-128"/>
              <a:ea typeface="Meiryo UI" panose="020B0604030504040204" pitchFamily="50" charset="-128"/>
            </a:endParaRPr>
          </a:p>
        </p:txBody>
      </p:sp>
      <p:sp>
        <p:nvSpPr>
          <p:cNvPr id="6" name="四角形: 角を丸くする 5">
            <a:extLst>
              <a:ext uri="{FF2B5EF4-FFF2-40B4-BE49-F238E27FC236}">
                <a16:creationId xmlns:a16="http://schemas.microsoft.com/office/drawing/2014/main" id="{C413BA5C-594F-2300-D410-F70E3B48E49C}"/>
              </a:ext>
            </a:extLst>
          </p:cNvPr>
          <p:cNvSpPr/>
          <p:nvPr/>
        </p:nvSpPr>
        <p:spPr bwMode="auto">
          <a:xfrm>
            <a:off x="4708447" y="3641961"/>
            <a:ext cx="1271248" cy="505573"/>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hangingPunct="0"/>
            <a:r>
              <a:rPr lang="en-US" altLang="ja-JP" sz="1600">
                <a:latin typeface="Meiryo UI" panose="020B0604030504040204" pitchFamily="50" charset="-128"/>
                <a:ea typeface="Meiryo UI" panose="020B0604030504040204" pitchFamily="50" charset="-128"/>
              </a:rPr>
              <a:t>XX</a:t>
            </a:r>
            <a:r>
              <a:rPr lang="ja-JP" altLang="en-US" sz="1600">
                <a:latin typeface="Meiryo UI" panose="020B0604030504040204" pitchFamily="50" charset="-128"/>
                <a:ea typeface="Meiryo UI" panose="020B0604030504040204" pitchFamily="50" charset="-128"/>
              </a:rPr>
              <a:t>大学</a:t>
            </a:r>
          </a:p>
        </p:txBody>
      </p:sp>
      <p:sp>
        <p:nvSpPr>
          <p:cNvPr id="11" name="四角形: 角を丸くする 10">
            <a:extLst>
              <a:ext uri="{FF2B5EF4-FFF2-40B4-BE49-F238E27FC236}">
                <a16:creationId xmlns:a16="http://schemas.microsoft.com/office/drawing/2014/main" id="{4CD4F1BF-CAC1-27AB-B905-16FA2234225D}"/>
              </a:ext>
            </a:extLst>
          </p:cNvPr>
          <p:cNvSpPr/>
          <p:nvPr/>
        </p:nvSpPr>
        <p:spPr bwMode="auto">
          <a:xfrm>
            <a:off x="3180820" y="1448113"/>
            <a:ext cx="2739637" cy="612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ja-JP" sz="1600">
                <a:latin typeface="Meiryo UI" panose="020B0604030504040204" pitchFamily="50" charset="-128"/>
                <a:ea typeface="Meiryo UI" panose="020B0604030504040204" pitchFamily="50" charset="-128"/>
              </a:rPr>
              <a:t>XX</a:t>
            </a:r>
            <a:r>
              <a:rPr lang="ja-JP" altLang="en-US" sz="1600">
                <a:latin typeface="Meiryo UI" panose="020B0604030504040204" pitchFamily="50" charset="-128"/>
                <a:ea typeface="Meiryo UI" panose="020B0604030504040204" pitchFamily="50" charset="-128"/>
              </a:rPr>
              <a:t>圏域地方公共団体</a:t>
            </a:r>
            <a:endParaRPr lang="en-US" altLang="ja-JP" sz="1600">
              <a:latin typeface="Meiryo UI" panose="020B0604030504040204" pitchFamily="50" charset="-128"/>
              <a:ea typeface="Meiryo UI" panose="020B0604030504040204" pitchFamily="50" charset="-128"/>
            </a:endParaRPr>
          </a:p>
        </p:txBody>
      </p:sp>
      <p:cxnSp>
        <p:nvCxnSpPr>
          <p:cNvPr id="16" name="直線矢印コネクタ 15">
            <a:extLst>
              <a:ext uri="{FF2B5EF4-FFF2-40B4-BE49-F238E27FC236}">
                <a16:creationId xmlns:a16="http://schemas.microsoft.com/office/drawing/2014/main" id="{67D23B5B-BE68-D419-831E-1886956A7918}"/>
              </a:ext>
            </a:extLst>
          </p:cNvPr>
          <p:cNvCxnSpPr/>
          <p:nvPr/>
        </p:nvCxnSpPr>
        <p:spPr bwMode="auto">
          <a:xfrm>
            <a:off x="5359400" y="2124517"/>
            <a:ext cx="0" cy="432087"/>
          </a:xfrm>
          <a:prstGeom prst="straightConnector1">
            <a:avLst/>
          </a:prstGeom>
          <a:solidFill>
            <a:schemeClr val="bg1"/>
          </a:solidFill>
          <a:ln w="12700" cap="flat" cmpd="sng" algn="ctr">
            <a:solidFill>
              <a:schemeClr val="tx1"/>
            </a:solidFill>
            <a:prstDash val="solid"/>
            <a:round/>
            <a:headEnd type="triangle"/>
            <a:tailEnd type="triangle"/>
          </a:ln>
          <a:effectLst/>
        </p:spPr>
      </p:cxnSp>
      <p:sp>
        <p:nvSpPr>
          <p:cNvPr id="19" name="四角形: 角を丸くする 18">
            <a:extLst>
              <a:ext uri="{FF2B5EF4-FFF2-40B4-BE49-F238E27FC236}">
                <a16:creationId xmlns:a16="http://schemas.microsoft.com/office/drawing/2014/main" id="{A2F1C025-D9A8-600E-7848-FD9E9AB6B77C}"/>
              </a:ext>
            </a:extLst>
          </p:cNvPr>
          <p:cNvSpPr/>
          <p:nvPr/>
        </p:nvSpPr>
        <p:spPr bwMode="auto">
          <a:xfrm>
            <a:off x="5168899" y="2140574"/>
            <a:ext cx="1046464" cy="374571"/>
          </a:xfrm>
          <a:prstGeom prst="round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i="0" u="none" strike="noStrike" cap="none" normalizeH="0" baseline="0">
                <a:ln>
                  <a:noFill/>
                </a:ln>
                <a:effectLst/>
                <a:latin typeface="Meiryo UI" panose="020B0604030504040204" pitchFamily="50" charset="-128"/>
                <a:ea typeface="Meiryo UI" panose="020B0604030504040204" pitchFamily="50" charset="-128"/>
              </a:rPr>
              <a:t>連携</a:t>
            </a:r>
          </a:p>
        </p:txBody>
      </p:sp>
      <p:cxnSp>
        <p:nvCxnSpPr>
          <p:cNvPr id="21" name="直線矢印コネクタ 20">
            <a:extLst>
              <a:ext uri="{FF2B5EF4-FFF2-40B4-BE49-F238E27FC236}">
                <a16:creationId xmlns:a16="http://schemas.microsoft.com/office/drawing/2014/main" id="{B4874262-68E6-3189-BE25-1CFC8DEE52BC}"/>
              </a:ext>
            </a:extLst>
          </p:cNvPr>
          <p:cNvCxnSpPr>
            <a:cxnSpLocks/>
          </p:cNvCxnSpPr>
          <p:nvPr/>
        </p:nvCxnSpPr>
        <p:spPr bwMode="auto">
          <a:xfrm>
            <a:off x="3781515" y="2124517"/>
            <a:ext cx="0" cy="360000"/>
          </a:xfrm>
          <a:prstGeom prst="straightConnector1">
            <a:avLst/>
          </a:prstGeom>
          <a:solidFill>
            <a:schemeClr val="bg1"/>
          </a:solidFill>
          <a:ln w="12700" cap="flat" cmpd="sng" algn="ctr">
            <a:solidFill>
              <a:schemeClr val="tx1"/>
            </a:solidFill>
            <a:prstDash val="solid"/>
            <a:round/>
            <a:headEnd type="none" w="med" len="med"/>
            <a:tailEnd type="triangle"/>
          </a:ln>
          <a:effectLst/>
        </p:spPr>
      </p:cxnSp>
      <p:sp>
        <p:nvSpPr>
          <p:cNvPr id="29" name="四角形: 角を丸くする 28">
            <a:extLst>
              <a:ext uri="{FF2B5EF4-FFF2-40B4-BE49-F238E27FC236}">
                <a16:creationId xmlns:a16="http://schemas.microsoft.com/office/drawing/2014/main" id="{42AD886A-D99F-1D3E-81E7-0C8F8F9D904F}"/>
              </a:ext>
            </a:extLst>
          </p:cNvPr>
          <p:cNvSpPr/>
          <p:nvPr/>
        </p:nvSpPr>
        <p:spPr bwMode="auto">
          <a:xfrm>
            <a:off x="2735051" y="2140573"/>
            <a:ext cx="1046464" cy="374571"/>
          </a:xfrm>
          <a:prstGeom prst="round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i="0" u="none" strike="noStrike" cap="none" normalizeH="0" baseline="0">
                <a:ln>
                  <a:noFill/>
                </a:ln>
                <a:effectLst/>
                <a:latin typeface="Meiryo UI" panose="020B0604030504040204" pitchFamily="50" charset="-128"/>
                <a:ea typeface="Meiryo UI" panose="020B0604030504040204" pitchFamily="50" charset="-128"/>
              </a:rPr>
              <a:t>情報提供</a:t>
            </a:r>
          </a:p>
        </p:txBody>
      </p:sp>
      <p:sp>
        <p:nvSpPr>
          <p:cNvPr id="14" name="テキスト ボックス 13">
            <a:extLst>
              <a:ext uri="{FF2B5EF4-FFF2-40B4-BE49-F238E27FC236}">
                <a16:creationId xmlns:a16="http://schemas.microsoft.com/office/drawing/2014/main" id="{257EE647-C249-5C6C-B7AE-69DFC32C5027}"/>
              </a:ext>
            </a:extLst>
          </p:cNvPr>
          <p:cNvSpPr txBox="1"/>
          <p:nvPr/>
        </p:nvSpPr>
        <p:spPr>
          <a:xfrm>
            <a:off x="6634577" y="31647"/>
            <a:ext cx="2420646" cy="289441"/>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050" b="1">
                <a:solidFill>
                  <a:schemeClr val="bg1"/>
                </a:solidFill>
                <a:latin typeface="Meiryo UI" panose="020B0604030504040204" pitchFamily="50" charset="-128"/>
                <a:ea typeface="Meiryo UI" panose="020B0604030504040204" pitchFamily="50" charset="-128"/>
              </a:rPr>
              <a:t>モビリティ人材・組織育成タイプ</a:t>
            </a:r>
          </a:p>
        </p:txBody>
      </p:sp>
      <p:sp>
        <p:nvSpPr>
          <p:cNvPr id="30" name="テキスト ボックス 29">
            <a:extLst>
              <a:ext uri="{FF2B5EF4-FFF2-40B4-BE49-F238E27FC236}">
                <a16:creationId xmlns:a16="http://schemas.microsoft.com/office/drawing/2014/main" id="{EB181C96-79FD-8FBF-9F21-3C814FD5AEE4}"/>
              </a:ext>
            </a:extLst>
          </p:cNvPr>
          <p:cNvSpPr txBox="1"/>
          <p:nvPr/>
        </p:nvSpPr>
        <p:spPr>
          <a:xfrm>
            <a:off x="8253548" y="339874"/>
            <a:ext cx="766768" cy="205018"/>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ア</a:t>
            </a:r>
          </a:p>
        </p:txBody>
      </p:sp>
    </p:spTree>
    <p:extLst>
      <p:ext uri="{BB962C8B-B14F-4D97-AF65-F5344CB8AC3E}">
        <p14:creationId xmlns:p14="http://schemas.microsoft.com/office/powerpoint/2010/main" val="2069976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19D39-3BC0-6985-EB4F-9F6CFBF4F49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85DFCF8-B110-DBE4-0CC0-A1EA9B228C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785DFCF8-B110-DBE4-0CC0-A1EA9B228C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655A4E64-9552-8EE2-83F6-F44CF66A406D}"/>
              </a:ext>
            </a:extLst>
          </p:cNvPr>
          <p:cNvSpPr txBox="1"/>
          <p:nvPr/>
        </p:nvSpPr>
        <p:spPr>
          <a:xfrm>
            <a:off x="89840" y="3748237"/>
            <a:ext cx="929005"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実施手順</a:t>
            </a:r>
          </a:p>
        </p:txBody>
      </p:sp>
      <p:sp>
        <p:nvSpPr>
          <p:cNvPr id="4" name="テキスト ボックス 3">
            <a:extLst>
              <a:ext uri="{FF2B5EF4-FFF2-40B4-BE49-F238E27FC236}">
                <a16:creationId xmlns:a16="http://schemas.microsoft.com/office/drawing/2014/main" id="{0A9FDE42-15D2-B12E-7D93-9FAF5393738E}"/>
              </a:ext>
            </a:extLst>
          </p:cNvPr>
          <p:cNvSpPr txBox="1"/>
          <p:nvPr/>
        </p:nvSpPr>
        <p:spPr>
          <a:xfrm>
            <a:off x="2475154" y="584183"/>
            <a:ext cx="751255"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r>
              <a:rPr lang="ja-JP" altLang="en-US" sz="1400" b="1">
                <a:solidFill>
                  <a:schemeClr val="bg1"/>
                </a:solidFill>
                <a:latin typeface="Meiryo UI" panose="020B0604030504040204" pitchFamily="50" charset="-128"/>
                <a:ea typeface="Meiryo UI" panose="020B0604030504040204" pitchFamily="50" charset="-128"/>
              </a:rPr>
              <a:t>事業費</a:t>
            </a:r>
          </a:p>
        </p:txBody>
      </p:sp>
      <p:sp>
        <p:nvSpPr>
          <p:cNvPr id="8" name="タイトル 1">
            <a:extLst>
              <a:ext uri="{FF2B5EF4-FFF2-40B4-BE49-F238E27FC236}">
                <a16:creationId xmlns:a16="http://schemas.microsoft.com/office/drawing/2014/main" id="{3CA04BC7-4A3C-04F2-CA33-DA4AF2FB1135}"/>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県〇市、△市</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事業名</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XXXX</a:t>
            </a:r>
          </a:p>
        </p:txBody>
      </p:sp>
      <p:sp>
        <p:nvSpPr>
          <p:cNvPr id="23" name="テキスト ボックス 22">
            <a:extLst>
              <a:ext uri="{FF2B5EF4-FFF2-40B4-BE49-F238E27FC236}">
                <a16:creationId xmlns:a16="http://schemas.microsoft.com/office/drawing/2014/main" id="{A5FA24CD-EBA6-4E93-FCE9-19B9E45AAC3B}"/>
              </a:ext>
            </a:extLst>
          </p:cNvPr>
          <p:cNvSpPr txBox="1"/>
          <p:nvPr/>
        </p:nvSpPr>
        <p:spPr>
          <a:xfrm>
            <a:off x="6634577" y="31647"/>
            <a:ext cx="2420646" cy="289441"/>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050" b="1">
                <a:solidFill>
                  <a:schemeClr val="bg1"/>
                </a:solidFill>
                <a:latin typeface="Meiryo UI" panose="020B0604030504040204" pitchFamily="50" charset="-128"/>
                <a:ea typeface="Meiryo UI" panose="020B0604030504040204" pitchFamily="50" charset="-128"/>
              </a:rPr>
              <a:t>モビリティ人材・組織育成タイプ</a:t>
            </a:r>
          </a:p>
        </p:txBody>
      </p:sp>
      <p:sp>
        <p:nvSpPr>
          <p:cNvPr id="24" name="テキスト ボックス 23">
            <a:extLst>
              <a:ext uri="{FF2B5EF4-FFF2-40B4-BE49-F238E27FC236}">
                <a16:creationId xmlns:a16="http://schemas.microsoft.com/office/drawing/2014/main" id="{07572E3C-F71F-F5CF-69FD-1B2107521386}"/>
              </a:ext>
            </a:extLst>
          </p:cNvPr>
          <p:cNvSpPr txBox="1"/>
          <p:nvPr/>
        </p:nvSpPr>
        <p:spPr>
          <a:xfrm>
            <a:off x="8253548" y="339874"/>
            <a:ext cx="766768" cy="205018"/>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ア</a:t>
            </a:r>
          </a:p>
        </p:txBody>
      </p:sp>
      <p:sp>
        <p:nvSpPr>
          <p:cNvPr id="43" name="テキスト ボックス 42">
            <a:extLst>
              <a:ext uri="{FF2B5EF4-FFF2-40B4-BE49-F238E27FC236}">
                <a16:creationId xmlns:a16="http://schemas.microsoft.com/office/drawing/2014/main" id="{0250779F-BB4C-0818-34D3-115E09767BED}"/>
              </a:ext>
            </a:extLst>
          </p:cNvPr>
          <p:cNvSpPr txBox="1"/>
          <p:nvPr/>
        </p:nvSpPr>
        <p:spPr>
          <a:xfrm>
            <a:off x="89840" y="2329331"/>
            <a:ext cx="1381064"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事業背景・目的</a:t>
            </a:r>
          </a:p>
        </p:txBody>
      </p:sp>
      <p:sp>
        <p:nvSpPr>
          <p:cNvPr id="44" name="テキスト ボックス 43">
            <a:extLst>
              <a:ext uri="{FF2B5EF4-FFF2-40B4-BE49-F238E27FC236}">
                <a16:creationId xmlns:a16="http://schemas.microsoft.com/office/drawing/2014/main" id="{C9037A15-AE44-A25E-D1A6-71B07E3862E6}"/>
              </a:ext>
            </a:extLst>
          </p:cNvPr>
          <p:cNvSpPr txBox="1"/>
          <p:nvPr/>
        </p:nvSpPr>
        <p:spPr>
          <a:xfrm>
            <a:off x="4403864" y="612950"/>
            <a:ext cx="929005"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事業概要</a:t>
            </a:r>
          </a:p>
        </p:txBody>
      </p:sp>
      <p:sp>
        <p:nvSpPr>
          <p:cNvPr id="45" name="テキスト ボックス 44">
            <a:extLst>
              <a:ext uri="{FF2B5EF4-FFF2-40B4-BE49-F238E27FC236}">
                <a16:creationId xmlns:a16="http://schemas.microsoft.com/office/drawing/2014/main" id="{BDC88371-3E14-8601-040A-7D23533C3587}"/>
              </a:ext>
            </a:extLst>
          </p:cNvPr>
          <p:cNvSpPr txBox="1"/>
          <p:nvPr/>
        </p:nvSpPr>
        <p:spPr>
          <a:xfrm>
            <a:off x="89840" y="1414129"/>
            <a:ext cx="1286292"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事業実施地域</a:t>
            </a:r>
          </a:p>
        </p:txBody>
      </p:sp>
      <p:sp>
        <p:nvSpPr>
          <p:cNvPr id="46" name="テキスト ボックス 45">
            <a:extLst>
              <a:ext uri="{FF2B5EF4-FFF2-40B4-BE49-F238E27FC236}">
                <a16:creationId xmlns:a16="http://schemas.microsoft.com/office/drawing/2014/main" id="{96D259D0-C34E-83A7-8851-7B5049BA2486}"/>
              </a:ext>
            </a:extLst>
          </p:cNvPr>
          <p:cNvSpPr txBox="1"/>
          <p:nvPr/>
        </p:nvSpPr>
        <p:spPr>
          <a:xfrm>
            <a:off x="89840" y="592697"/>
            <a:ext cx="1207859" cy="323493"/>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r>
              <a:rPr lang="ja-JP" altLang="en-US" sz="1400" b="1">
                <a:solidFill>
                  <a:schemeClr val="bg1"/>
                </a:solidFill>
                <a:latin typeface="Meiryo UI" panose="020B0604030504040204" pitchFamily="50" charset="-128"/>
                <a:ea typeface="Meiryo UI" panose="020B0604030504040204" pitchFamily="50" charset="-128"/>
              </a:rPr>
              <a:t>事業主体</a:t>
            </a:r>
          </a:p>
        </p:txBody>
      </p:sp>
      <p:graphicFrame>
        <p:nvGraphicFramePr>
          <p:cNvPr id="6" name="表 5">
            <a:extLst>
              <a:ext uri="{FF2B5EF4-FFF2-40B4-BE49-F238E27FC236}">
                <a16:creationId xmlns:a16="http://schemas.microsoft.com/office/drawing/2014/main" id="{0AD80AD7-F16B-8361-5D3E-899F2019AF15}"/>
              </a:ext>
            </a:extLst>
          </p:cNvPr>
          <p:cNvGraphicFramePr>
            <a:graphicFrameLocks noGrp="1"/>
          </p:cNvGraphicFramePr>
          <p:nvPr>
            <p:extLst>
              <p:ext uri="{D42A27DB-BD31-4B8C-83A1-F6EECF244321}">
                <p14:modId xmlns:p14="http://schemas.microsoft.com/office/powerpoint/2010/main" val="1752152403"/>
              </p:ext>
            </p:extLst>
          </p:nvPr>
        </p:nvGraphicFramePr>
        <p:xfrm>
          <a:off x="4394986" y="1030443"/>
          <a:ext cx="4495698" cy="2562690"/>
        </p:xfrm>
        <a:graphic>
          <a:graphicData uri="http://schemas.openxmlformats.org/drawingml/2006/table">
            <a:tbl>
              <a:tblPr firstRow="1" bandRow="1">
                <a:tableStyleId>{5C22544A-7EE6-4342-B048-85BDC9FD1C3A}</a:tableStyleId>
              </a:tblPr>
              <a:tblGrid>
                <a:gridCol w="1300409">
                  <a:extLst>
                    <a:ext uri="{9D8B030D-6E8A-4147-A177-3AD203B41FA5}">
                      <a16:colId xmlns:a16="http://schemas.microsoft.com/office/drawing/2014/main" val="2385357001"/>
                    </a:ext>
                  </a:extLst>
                </a:gridCol>
                <a:gridCol w="3195289">
                  <a:extLst>
                    <a:ext uri="{9D8B030D-6E8A-4147-A177-3AD203B41FA5}">
                      <a16:colId xmlns:a16="http://schemas.microsoft.com/office/drawing/2014/main" val="1240499503"/>
                    </a:ext>
                  </a:extLst>
                </a:gridCol>
              </a:tblGrid>
              <a:tr h="386783">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400" b="1">
                          <a:solidFill>
                            <a:schemeClr val="tx1"/>
                          </a:solidFill>
                          <a:latin typeface="Meiryo UI" panose="020B0604030504040204" pitchFamily="50" charset="-128"/>
                          <a:ea typeface="Meiryo UI" panose="020B0604030504040204" pitchFamily="50" charset="-128"/>
                        </a:rPr>
                        <a:t>事業対象者</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endParaRPr lang="en-US" altLang="ja-JP" sz="1400" kern="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7793036"/>
                  </a:ext>
                </a:extLst>
              </a:tr>
              <a:tr h="386783">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400" b="1">
                          <a:solidFill>
                            <a:schemeClr val="tx1"/>
                          </a:solidFill>
                          <a:latin typeface="Meiryo UI" panose="020B0604030504040204" pitchFamily="50" charset="-128"/>
                          <a:ea typeface="Meiryo UI" panose="020B0604030504040204" pitchFamily="50" charset="-128"/>
                        </a:rPr>
                        <a:t>習得するスキル</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endParaRPr lang="en-US" altLang="ja-JP" sz="1400" kern="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1400496"/>
                  </a:ext>
                </a:extLst>
              </a:tr>
              <a:tr h="1789124">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400" b="1">
                          <a:solidFill>
                            <a:schemeClr val="tx1"/>
                          </a:solidFill>
                          <a:latin typeface="Meiryo UI" panose="020B0604030504040204" pitchFamily="50" charset="-128"/>
                          <a:ea typeface="Meiryo UI" panose="020B0604030504040204" pitchFamily="50" charset="-128"/>
                        </a:rPr>
                        <a:t>人材・組織育成の内容および</a:t>
                      </a:r>
                      <a:br>
                        <a:rPr kumimoji="1" lang="en-US" altLang="ja-JP" sz="1400" b="1">
                          <a:solidFill>
                            <a:schemeClr val="tx1"/>
                          </a:solidFill>
                          <a:latin typeface="Meiryo UI" panose="020B0604030504040204" pitchFamily="50" charset="-128"/>
                          <a:ea typeface="Meiryo UI" panose="020B0604030504040204" pitchFamily="50" charset="-128"/>
                        </a:rPr>
                      </a:br>
                      <a:r>
                        <a:rPr kumimoji="1" lang="ja-JP" altLang="en-US" sz="1400" b="1">
                          <a:solidFill>
                            <a:schemeClr val="tx1"/>
                          </a:solidFill>
                          <a:latin typeface="Meiryo UI" panose="020B0604030504040204" pitchFamily="50" charset="-128"/>
                          <a:ea typeface="Meiryo UI" panose="020B0604030504040204" pitchFamily="50" charset="-128"/>
                        </a:rPr>
                        <a:t>手法</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285750" marR="0" lvl="0" indent="-285750" algn="l" defTabSz="906146"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1" lang="en-US" altLang="ja-JP" sz="1400" kern="1200">
                        <a:solidFill>
                          <a:schemeClr val="tx1"/>
                        </a:solidFill>
                        <a:latin typeface="Meiryo UI" panose="020B0604030504040204" pitchFamily="50" charset="-128"/>
                        <a:ea typeface="Meiryo UI" panose="020B0604030504040204" pitchFamily="50" charset="-128"/>
                        <a:cs typeface="+mn-cs"/>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40353186"/>
                  </a:ext>
                </a:extLst>
              </a:tr>
            </a:tbl>
          </a:graphicData>
        </a:graphic>
      </p:graphicFrame>
      <p:sp>
        <p:nvSpPr>
          <p:cNvPr id="2" name="テキスト ボックス 1">
            <a:extLst>
              <a:ext uri="{FF2B5EF4-FFF2-40B4-BE49-F238E27FC236}">
                <a16:creationId xmlns:a16="http://schemas.microsoft.com/office/drawing/2014/main" id="{2564A34F-4BE5-AC01-9A53-B530EE11A295}"/>
              </a:ext>
            </a:extLst>
          </p:cNvPr>
          <p:cNvSpPr txBox="1"/>
          <p:nvPr/>
        </p:nvSpPr>
        <p:spPr>
          <a:xfrm>
            <a:off x="4403864" y="3714975"/>
            <a:ext cx="1719177"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見込まれる事業効果</a:t>
            </a:r>
          </a:p>
        </p:txBody>
      </p:sp>
    </p:spTree>
    <p:extLst>
      <p:ext uri="{BB962C8B-B14F-4D97-AF65-F5344CB8AC3E}">
        <p14:creationId xmlns:p14="http://schemas.microsoft.com/office/powerpoint/2010/main" val="8292526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BA5F7-6C7D-9CDC-2AD8-9579941256A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93DBBD-3C31-7B01-647D-B76ED7943B2A}"/>
              </a:ext>
            </a:extLst>
          </p:cNvPr>
          <p:cNvGraphicFramePr>
            <a:graphicFrameLocks noChangeAspect="1"/>
          </p:cNvGraphicFramePr>
          <p:nvPr>
            <p:custDataLst>
              <p:tags r:id="rId1"/>
            </p:custDataLst>
            <p:extLst>
              <p:ext uri="{D42A27DB-BD31-4B8C-83A1-F6EECF244321}">
                <p14:modId xmlns:p14="http://schemas.microsoft.com/office/powerpoint/2010/main" val="2129663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7E93DBBD-3C31-7B01-647D-B76ED7943B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正方形/長方形 55">
            <a:extLst>
              <a:ext uri="{FF2B5EF4-FFF2-40B4-BE49-F238E27FC236}">
                <a16:creationId xmlns:a16="http://schemas.microsoft.com/office/drawing/2014/main" id="{915E5855-45E0-33C3-9923-577DD2B8C46D}"/>
              </a:ext>
            </a:extLst>
          </p:cNvPr>
          <p:cNvSpPr/>
          <p:nvPr/>
        </p:nvSpPr>
        <p:spPr>
          <a:xfrm>
            <a:off x="63878" y="1023551"/>
            <a:ext cx="9016243" cy="4673575"/>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defRPr/>
            </a:pPr>
            <a:endParaRPr lang="en-US" altLang="ja-JP" sz="1400" kern="0">
              <a:solidFill>
                <a:schemeClr val="tx1"/>
              </a:solidFill>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72A2A223-EF98-5DBE-5E46-B30E77DBF1BB}"/>
              </a:ext>
            </a:extLst>
          </p:cNvPr>
          <p:cNvSpPr txBox="1"/>
          <p:nvPr/>
        </p:nvSpPr>
        <p:spPr>
          <a:xfrm>
            <a:off x="80962" y="610453"/>
            <a:ext cx="1207859" cy="323493"/>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defRPr sz="1300" b="1">
                <a:solidFill>
                  <a:schemeClr val="bg1"/>
                </a:solidFill>
                <a:latin typeface="Meiryo UI" panose="020B0604030504040204" pitchFamily="50" charset="-128"/>
                <a:ea typeface="Meiryo UI" panose="020B0604030504040204" pitchFamily="50" charset="-128"/>
              </a:defRPr>
            </a:lvl1pPr>
          </a:lstStyle>
          <a:p>
            <a:pPr algn="ctr"/>
            <a:r>
              <a:rPr lang="ja-JP" altLang="en-US" sz="1400"/>
              <a:t>事業実施体制</a:t>
            </a:r>
          </a:p>
        </p:txBody>
      </p:sp>
      <p:sp>
        <p:nvSpPr>
          <p:cNvPr id="3" name="タイトル 1">
            <a:extLst>
              <a:ext uri="{FF2B5EF4-FFF2-40B4-BE49-F238E27FC236}">
                <a16:creationId xmlns:a16="http://schemas.microsoft.com/office/drawing/2014/main" id="{7F30A784-33C3-7848-8888-4980CBB91957}"/>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県〇市、△市</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事業名</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XXXX</a:t>
            </a:r>
          </a:p>
        </p:txBody>
      </p:sp>
      <p:sp>
        <p:nvSpPr>
          <p:cNvPr id="5" name="テキスト ボックス 4">
            <a:extLst>
              <a:ext uri="{FF2B5EF4-FFF2-40B4-BE49-F238E27FC236}">
                <a16:creationId xmlns:a16="http://schemas.microsoft.com/office/drawing/2014/main" id="{A10D7F37-0035-BB85-FBDC-BF2C92A6A66B}"/>
              </a:ext>
            </a:extLst>
          </p:cNvPr>
          <p:cNvSpPr txBox="1"/>
          <p:nvPr/>
        </p:nvSpPr>
        <p:spPr>
          <a:xfrm>
            <a:off x="6634577" y="31647"/>
            <a:ext cx="2420646" cy="289441"/>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050" b="1">
                <a:solidFill>
                  <a:schemeClr val="bg1"/>
                </a:solidFill>
                <a:latin typeface="Meiryo UI" panose="020B0604030504040204" pitchFamily="50" charset="-128"/>
                <a:ea typeface="Meiryo UI" panose="020B0604030504040204" pitchFamily="50" charset="-128"/>
              </a:rPr>
              <a:t>モビリティ人材・組織育成タイプ</a:t>
            </a:r>
          </a:p>
        </p:txBody>
      </p:sp>
      <p:sp>
        <p:nvSpPr>
          <p:cNvPr id="6" name="テキスト ボックス 5">
            <a:extLst>
              <a:ext uri="{FF2B5EF4-FFF2-40B4-BE49-F238E27FC236}">
                <a16:creationId xmlns:a16="http://schemas.microsoft.com/office/drawing/2014/main" id="{BA050C5E-EDE9-915D-F7F2-17E4AC5A1EEF}"/>
              </a:ext>
            </a:extLst>
          </p:cNvPr>
          <p:cNvSpPr txBox="1"/>
          <p:nvPr/>
        </p:nvSpPr>
        <p:spPr>
          <a:xfrm>
            <a:off x="8253548" y="339874"/>
            <a:ext cx="766768" cy="205018"/>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ア</a:t>
            </a:r>
          </a:p>
        </p:txBody>
      </p:sp>
    </p:spTree>
    <p:extLst>
      <p:ext uri="{BB962C8B-B14F-4D97-AF65-F5344CB8AC3E}">
        <p14:creationId xmlns:p14="http://schemas.microsoft.com/office/powerpoint/2010/main" val="36927771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82819-2D0C-D027-22F8-2FD7781492D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339113-5680-1011-9F56-B3101537C3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33339113-5680-1011-9F56-B3101537C3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A53C6264-A3C3-4E88-E610-600F9E07F291}"/>
              </a:ext>
            </a:extLst>
          </p:cNvPr>
          <p:cNvSpPr txBox="1">
            <a:spLocks/>
          </p:cNvSpPr>
          <p:nvPr/>
        </p:nvSpPr>
        <p:spPr>
          <a:xfrm>
            <a:off x="0" y="-324"/>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応募様式アに係る記載項目の説明 （</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1/2</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endPar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p:txBody>
      </p:sp>
      <p:sp>
        <p:nvSpPr>
          <p:cNvPr id="8" name="テキスト ボックス 7">
            <a:extLst>
              <a:ext uri="{FF2B5EF4-FFF2-40B4-BE49-F238E27FC236}">
                <a16:creationId xmlns:a16="http://schemas.microsoft.com/office/drawing/2014/main" id="{5EBD9790-1254-CFB9-24FF-3C600C26F615}"/>
              </a:ext>
            </a:extLst>
          </p:cNvPr>
          <p:cNvSpPr txBox="1"/>
          <p:nvPr/>
        </p:nvSpPr>
        <p:spPr>
          <a:xfrm>
            <a:off x="80962" y="593065"/>
            <a:ext cx="1440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名称</a:t>
            </a:r>
          </a:p>
        </p:txBody>
      </p:sp>
      <p:sp>
        <p:nvSpPr>
          <p:cNvPr id="14" name="正方形/長方形 13">
            <a:extLst>
              <a:ext uri="{FF2B5EF4-FFF2-40B4-BE49-F238E27FC236}">
                <a16:creationId xmlns:a16="http://schemas.microsoft.com/office/drawing/2014/main" id="{124B1E25-CAEA-1815-17C8-269C62288A70}"/>
              </a:ext>
            </a:extLst>
          </p:cNvPr>
          <p:cNvSpPr/>
          <p:nvPr/>
        </p:nvSpPr>
        <p:spPr bwMode="auto">
          <a:xfrm>
            <a:off x="80962" y="965837"/>
            <a:ext cx="1440000" cy="432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主体</a:t>
            </a:r>
          </a:p>
        </p:txBody>
      </p:sp>
      <p:sp>
        <p:nvSpPr>
          <p:cNvPr id="11" name="テキスト ボックス 10">
            <a:extLst>
              <a:ext uri="{FF2B5EF4-FFF2-40B4-BE49-F238E27FC236}">
                <a16:creationId xmlns:a16="http://schemas.microsoft.com/office/drawing/2014/main" id="{0BED0B23-5EE5-3F9D-0DF9-CA2F9E57923E}"/>
              </a:ext>
            </a:extLst>
          </p:cNvPr>
          <p:cNvSpPr txBox="1"/>
          <p:nvPr/>
        </p:nvSpPr>
        <p:spPr>
          <a:xfrm>
            <a:off x="4627859" y="593065"/>
            <a:ext cx="4435179"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具体的な記載例</a:t>
            </a:r>
          </a:p>
        </p:txBody>
      </p:sp>
      <p:sp>
        <p:nvSpPr>
          <p:cNvPr id="18" name="正方形/長方形 17">
            <a:extLst>
              <a:ext uri="{FF2B5EF4-FFF2-40B4-BE49-F238E27FC236}">
                <a16:creationId xmlns:a16="http://schemas.microsoft.com/office/drawing/2014/main" id="{A0B69FE0-1F5C-6599-8DE8-AA0806B1EFEB}"/>
              </a:ext>
            </a:extLst>
          </p:cNvPr>
          <p:cNvSpPr/>
          <p:nvPr/>
        </p:nvSpPr>
        <p:spPr bwMode="auto">
          <a:xfrm>
            <a:off x="4627859" y="965837"/>
            <a:ext cx="4435179" cy="432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dirty="0">
                <a:solidFill>
                  <a:prstClr val="black"/>
                </a:solidFill>
                <a:latin typeface="HGP創英角ｺﾞｼｯｸUB"/>
                <a:ea typeface="Meiryo UI" panose="020B0604030504040204" pitchFamily="50" charset="-128"/>
              </a:rPr>
              <a:t>事業主体：</a:t>
            </a:r>
            <a:r>
              <a:rPr lang="en-US" altLang="ja-JP" sz="1400" dirty="0">
                <a:solidFill>
                  <a:prstClr val="black"/>
                </a:solidFill>
                <a:latin typeface="HGP創英角ｺﾞｼｯｸUB"/>
                <a:ea typeface="Meiryo UI" panose="020B0604030504040204" pitchFamily="50" charset="-128"/>
              </a:rPr>
              <a:t>XX</a:t>
            </a:r>
            <a:r>
              <a:rPr lang="ja-JP" altLang="en-US" sz="1400" dirty="0">
                <a:solidFill>
                  <a:prstClr val="black"/>
                </a:solidFill>
                <a:latin typeface="HGP創英角ｺﾞｼｯｸUB"/>
                <a:ea typeface="Meiryo UI" panose="020B0604030504040204" pitchFamily="50" charset="-128"/>
              </a:rPr>
              <a:t>市地域公共交通協議会</a:t>
            </a:r>
            <a:endParaRPr lang="en-US" altLang="ja-JP" sz="1400" dirty="0">
              <a:solidFill>
                <a:prstClr val="black"/>
              </a:solidFill>
              <a:latin typeface="HGP創英角ｺﾞｼｯｸUB"/>
              <a:ea typeface="Meiryo UI" panose="020B0604030504040204" pitchFamily="50" charset="-128"/>
            </a:endParaRPr>
          </a:p>
        </p:txBody>
      </p:sp>
      <p:sp>
        <p:nvSpPr>
          <p:cNvPr id="24" name="正方形/長方形 23">
            <a:extLst>
              <a:ext uri="{FF2B5EF4-FFF2-40B4-BE49-F238E27FC236}">
                <a16:creationId xmlns:a16="http://schemas.microsoft.com/office/drawing/2014/main" id="{799EE01F-4D36-6F7F-1B59-85F0DA10C9FA}"/>
              </a:ext>
            </a:extLst>
          </p:cNvPr>
          <p:cNvSpPr/>
          <p:nvPr/>
        </p:nvSpPr>
        <p:spPr bwMode="auto">
          <a:xfrm>
            <a:off x="4627859" y="1470901"/>
            <a:ext cx="4435179" cy="432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dirty="0">
                <a:solidFill>
                  <a:prstClr val="black"/>
                </a:solidFill>
                <a:latin typeface="HGP創英角ｺﾞｼｯｸUB"/>
                <a:ea typeface="Meiryo UI" panose="020B0604030504040204" pitchFamily="50" charset="-128"/>
              </a:rPr>
              <a:t>●県</a:t>
            </a:r>
            <a:r>
              <a:rPr lang="en-US" altLang="ja-JP" sz="1400" dirty="0">
                <a:solidFill>
                  <a:prstClr val="black"/>
                </a:solidFill>
                <a:latin typeface="HGP創英角ｺﾞｼｯｸUB"/>
                <a:ea typeface="Meiryo UI" panose="020B0604030504040204" pitchFamily="50" charset="-128"/>
              </a:rPr>
              <a:t>XX</a:t>
            </a:r>
            <a:r>
              <a:rPr lang="ja-JP" altLang="en-US" sz="1400" dirty="0">
                <a:solidFill>
                  <a:prstClr val="black"/>
                </a:solidFill>
                <a:latin typeface="HGP創英角ｺﾞｼｯｸUB"/>
                <a:ea typeface="Meiryo UI" panose="020B0604030504040204" pitchFamily="50" charset="-128"/>
              </a:rPr>
              <a:t>市</a:t>
            </a:r>
          </a:p>
        </p:txBody>
      </p:sp>
      <p:sp>
        <p:nvSpPr>
          <p:cNvPr id="25" name="正方形/長方形 24">
            <a:extLst>
              <a:ext uri="{FF2B5EF4-FFF2-40B4-BE49-F238E27FC236}">
                <a16:creationId xmlns:a16="http://schemas.microsoft.com/office/drawing/2014/main" id="{F29F0E5D-6F46-39A4-82AF-F6C4BAE2A487}"/>
              </a:ext>
            </a:extLst>
          </p:cNvPr>
          <p:cNvSpPr/>
          <p:nvPr/>
        </p:nvSpPr>
        <p:spPr bwMode="auto">
          <a:xfrm>
            <a:off x="80962" y="1470900"/>
            <a:ext cx="1440000" cy="432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実施地域</a:t>
            </a:r>
          </a:p>
        </p:txBody>
      </p:sp>
      <p:sp>
        <p:nvSpPr>
          <p:cNvPr id="28" name="正方形/長方形 27">
            <a:extLst>
              <a:ext uri="{FF2B5EF4-FFF2-40B4-BE49-F238E27FC236}">
                <a16:creationId xmlns:a16="http://schemas.microsoft.com/office/drawing/2014/main" id="{CD29DC75-A87F-DDED-9513-BF5C59385653}"/>
              </a:ext>
            </a:extLst>
          </p:cNvPr>
          <p:cNvSpPr/>
          <p:nvPr/>
        </p:nvSpPr>
        <p:spPr bwMode="auto">
          <a:xfrm>
            <a:off x="4627859" y="2000039"/>
            <a:ext cx="4435179" cy="1065557"/>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spc="-100" dirty="0">
                <a:latin typeface="Meiryo UI" panose="020B0604030504040204" pitchFamily="50" charset="-128"/>
                <a:ea typeface="Meiryo UI" panose="020B0604030504040204" pitchFamily="50" charset="-128"/>
                <a:sym typeface="+mj-lt"/>
              </a:rPr>
              <a:t>○○地区のバス路線の廃止を受け、地域旅客運送サービスを導入することが必要となっている。</a:t>
            </a:r>
          </a:p>
          <a:p>
            <a:pPr marL="285750" indent="-285750">
              <a:buFont typeface="Wingdings" panose="05000000000000000000" pitchFamily="2" charset="2"/>
              <a:buChar char="Ø"/>
            </a:pPr>
            <a:r>
              <a:rPr lang="ja-JP" altLang="en-US" sz="1400" spc="-100" dirty="0">
                <a:latin typeface="Meiryo UI" panose="020B0604030504040204" pitchFamily="50" charset="-128"/>
                <a:ea typeface="Meiryo UI" panose="020B0604030504040204" pitchFamily="50" charset="-128"/>
                <a:sym typeface="+mj-lt"/>
              </a:rPr>
              <a:t>一方で</a:t>
            </a:r>
            <a:r>
              <a:rPr lang="en-US" altLang="ja-JP" sz="1400" spc="-100" dirty="0">
                <a:latin typeface="Meiryo UI" panose="020B0604030504040204" pitchFamily="50" charset="-128"/>
                <a:ea typeface="Meiryo UI" panose="020B0604030504040204" pitchFamily="50" charset="-128"/>
                <a:sym typeface="+mj-lt"/>
              </a:rPr>
              <a:t>XX</a:t>
            </a:r>
            <a:r>
              <a:rPr lang="ja-JP" altLang="en-US" sz="1400" spc="-100" dirty="0">
                <a:latin typeface="Meiryo UI" panose="020B0604030504040204" pitchFamily="50" charset="-128"/>
                <a:ea typeface="Meiryo UI" panose="020B0604030504040204" pitchFamily="50" charset="-128"/>
                <a:sym typeface="+mj-lt"/>
              </a:rPr>
              <a:t>市としては、交通政策担当者が</a:t>
            </a:r>
            <a:r>
              <a:rPr lang="en-US" altLang="ja-JP" sz="1400" spc="-100" dirty="0">
                <a:latin typeface="Meiryo UI" panose="020B0604030504040204" pitchFamily="50" charset="-128"/>
                <a:ea typeface="Meiryo UI" panose="020B0604030504040204" pitchFamily="50" charset="-128"/>
                <a:sym typeface="+mj-lt"/>
              </a:rPr>
              <a:t>1</a:t>
            </a:r>
            <a:r>
              <a:rPr lang="ja-JP" altLang="en-US" sz="1400" spc="-100" dirty="0">
                <a:latin typeface="Meiryo UI" panose="020B0604030504040204" pitchFamily="50" charset="-128"/>
                <a:ea typeface="Meiryo UI" panose="020B0604030504040204" pitchFamily="50" charset="-128"/>
                <a:sym typeface="+mj-lt"/>
              </a:rPr>
              <a:t>名しかおらず、地域公共交通施策を実行するノウハウや地域の旅客運送サービスの検討を行う人員がいない。</a:t>
            </a:r>
          </a:p>
        </p:txBody>
      </p:sp>
      <p:sp>
        <p:nvSpPr>
          <p:cNvPr id="10" name="テキスト ボックス 9">
            <a:extLst>
              <a:ext uri="{FF2B5EF4-FFF2-40B4-BE49-F238E27FC236}">
                <a16:creationId xmlns:a16="http://schemas.microsoft.com/office/drawing/2014/main" id="{22D512F1-0C8E-5093-9C16-32B138139BF1}"/>
              </a:ext>
            </a:extLst>
          </p:cNvPr>
          <p:cNvSpPr txBox="1"/>
          <p:nvPr/>
        </p:nvSpPr>
        <p:spPr>
          <a:xfrm>
            <a:off x="1615438" y="593065"/>
            <a:ext cx="2917945"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の概要</a:t>
            </a:r>
          </a:p>
        </p:txBody>
      </p:sp>
      <p:sp>
        <p:nvSpPr>
          <p:cNvPr id="15" name="正方形/長方形 14">
            <a:extLst>
              <a:ext uri="{FF2B5EF4-FFF2-40B4-BE49-F238E27FC236}">
                <a16:creationId xmlns:a16="http://schemas.microsoft.com/office/drawing/2014/main" id="{F6EF5986-326F-51B6-318C-505EED4D215F}"/>
              </a:ext>
            </a:extLst>
          </p:cNvPr>
          <p:cNvSpPr/>
          <p:nvPr/>
        </p:nvSpPr>
        <p:spPr bwMode="auto">
          <a:xfrm>
            <a:off x="1615438" y="965837"/>
            <a:ext cx="2917945" cy="432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交付申請先である事業主体を記載</a:t>
            </a:r>
          </a:p>
        </p:txBody>
      </p:sp>
      <p:sp>
        <p:nvSpPr>
          <p:cNvPr id="23" name="正方形/長方形 22">
            <a:extLst>
              <a:ext uri="{FF2B5EF4-FFF2-40B4-BE49-F238E27FC236}">
                <a16:creationId xmlns:a16="http://schemas.microsoft.com/office/drawing/2014/main" id="{855156E5-A2E0-69E8-6BBE-8801F57D614E}"/>
              </a:ext>
            </a:extLst>
          </p:cNvPr>
          <p:cNvSpPr/>
          <p:nvPr/>
        </p:nvSpPr>
        <p:spPr bwMode="auto">
          <a:xfrm>
            <a:off x="1615438" y="1470901"/>
            <a:ext cx="2917945" cy="432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を実施する地域を記載</a:t>
            </a:r>
          </a:p>
        </p:txBody>
      </p:sp>
      <p:sp>
        <p:nvSpPr>
          <p:cNvPr id="27" name="正方形/長方形 26">
            <a:extLst>
              <a:ext uri="{FF2B5EF4-FFF2-40B4-BE49-F238E27FC236}">
                <a16:creationId xmlns:a16="http://schemas.microsoft.com/office/drawing/2014/main" id="{2A58D424-9322-8F43-A87A-62A968E50074}"/>
              </a:ext>
            </a:extLst>
          </p:cNvPr>
          <p:cNvSpPr/>
          <p:nvPr/>
        </p:nvSpPr>
        <p:spPr bwMode="auto">
          <a:xfrm>
            <a:off x="1615438" y="2000039"/>
            <a:ext cx="2917945" cy="1065557"/>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を実施するに至った背景や事業を通じて解消することを目指す課題を記載</a:t>
            </a:r>
          </a:p>
        </p:txBody>
      </p:sp>
      <p:sp>
        <p:nvSpPr>
          <p:cNvPr id="34" name="正方形/長方形 33">
            <a:extLst>
              <a:ext uri="{FF2B5EF4-FFF2-40B4-BE49-F238E27FC236}">
                <a16:creationId xmlns:a16="http://schemas.microsoft.com/office/drawing/2014/main" id="{DDDF85D6-C2C3-2924-C954-CCA6E5869A08}"/>
              </a:ext>
            </a:extLst>
          </p:cNvPr>
          <p:cNvSpPr/>
          <p:nvPr/>
        </p:nvSpPr>
        <p:spPr bwMode="auto">
          <a:xfrm>
            <a:off x="1615438" y="3151265"/>
            <a:ext cx="2917945" cy="81837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における目的や、事業を通じて目指す姿を記載</a:t>
            </a:r>
          </a:p>
        </p:txBody>
      </p:sp>
      <p:sp>
        <p:nvSpPr>
          <p:cNvPr id="35" name="正方形/長方形 34">
            <a:extLst>
              <a:ext uri="{FF2B5EF4-FFF2-40B4-BE49-F238E27FC236}">
                <a16:creationId xmlns:a16="http://schemas.microsoft.com/office/drawing/2014/main" id="{AEA6276A-4E5C-88A2-DAF3-138E86CC5B46}"/>
              </a:ext>
            </a:extLst>
          </p:cNvPr>
          <p:cNvSpPr/>
          <p:nvPr/>
        </p:nvSpPr>
        <p:spPr bwMode="auto">
          <a:xfrm>
            <a:off x="4627859" y="3127201"/>
            <a:ext cx="4435179" cy="842439"/>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dirty="0">
                <a:latin typeface="Meiryo UI" panose="020B0604030504040204" pitchFamily="50" charset="-128"/>
                <a:ea typeface="Meiryo UI" panose="020B0604030504040204" pitchFamily="50" charset="-128"/>
                <a:sym typeface="+mj-lt"/>
              </a:rPr>
              <a:t>新たな交通施策の検討や導入に向けたノウハウの提供を行う組織を立ち上げ、</a:t>
            </a:r>
            <a:r>
              <a:rPr lang="en-US" altLang="ja-JP" sz="1400" dirty="0">
                <a:latin typeface="Meiryo UI" panose="020B0604030504040204" pitchFamily="50" charset="-128"/>
                <a:ea typeface="Meiryo UI" panose="020B0604030504040204" pitchFamily="50" charset="-128"/>
                <a:sym typeface="+mj-lt"/>
              </a:rPr>
              <a:t>XX</a:t>
            </a:r>
            <a:r>
              <a:rPr lang="ja-JP" altLang="en-US" sz="1400" dirty="0">
                <a:latin typeface="Meiryo UI" panose="020B0604030504040204" pitchFamily="50" charset="-128"/>
                <a:ea typeface="Meiryo UI" panose="020B0604030504040204" pitchFamily="50" charset="-128"/>
                <a:sym typeface="+mj-lt"/>
              </a:rPr>
              <a:t>市の検討を支援することで、地域の実情を踏まえ、当該地域における持続的な公共交通の維持・確保を目指す。</a:t>
            </a:r>
          </a:p>
        </p:txBody>
      </p:sp>
      <p:sp>
        <p:nvSpPr>
          <p:cNvPr id="40" name="正方形/長方形 39">
            <a:extLst>
              <a:ext uri="{FF2B5EF4-FFF2-40B4-BE49-F238E27FC236}">
                <a16:creationId xmlns:a16="http://schemas.microsoft.com/office/drawing/2014/main" id="{90FD45DD-F2BC-23A9-C367-736B298FDC4D}"/>
              </a:ext>
            </a:extLst>
          </p:cNvPr>
          <p:cNvSpPr/>
          <p:nvPr/>
        </p:nvSpPr>
        <p:spPr bwMode="auto">
          <a:xfrm>
            <a:off x="80962" y="2000039"/>
            <a:ext cx="1440000" cy="1969601"/>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背景・目的</a:t>
            </a:r>
          </a:p>
        </p:txBody>
      </p:sp>
      <p:sp>
        <p:nvSpPr>
          <p:cNvPr id="21" name="正方形/長方形 20">
            <a:extLst>
              <a:ext uri="{FF2B5EF4-FFF2-40B4-BE49-F238E27FC236}">
                <a16:creationId xmlns:a16="http://schemas.microsoft.com/office/drawing/2014/main" id="{E41E36C4-F282-D8D5-1CF6-DD28156D7020}"/>
              </a:ext>
            </a:extLst>
          </p:cNvPr>
          <p:cNvSpPr/>
          <p:nvPr/>
        </p:nvSpPr>
        <p:spPr bwMode="auto">
          <a:xfrm>
            <a:off x="4627859" y="4040292"/>
            <a:ext cx="4435179" cy="278971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r>
              <a:rPr lang="ja-JP" altLang="en-US" sz="1400" spc="-100" dirty="0">
                <a:latin typeface="Meiryo UI" panose="020B0604030504040204" pitchFamily="50" charset="-128"/>
                <a:ea typeface="Meiryo UI" panose="020B0604030504040204" pitchFamily="50" charset="-128"/>
                <a:sym typeface="+mj-lt"/>
              </a:rPr>
              <a:t>６月～７月：事業検討</a:t>
            </a:r>
          </a:p>
          <a:p>
            <a:r>
              <a:rPr lang="ja-JP" altLang="en-US" sz="1400" spc="-100" dirty="0">
                <a:latin typeface="Meiryo UI" panose="020B0604030504040204" pitchFamily="50" charset="-128"/>
                <a:ea typeface="Meiryo UI" panose="020B0604030504040204" pitchFamily="50" charset="-128"/>
                <a:sym typeface="+mj-lt"/>
              </a:rPr>
              <a:t>先進事例等の勉強会を開催し、素案を作成する。</a:t>
            </a:r>
          </a:p>
          <a:p>
            <a:r>
              <a:rPr lang="ja-JP" altLang="en-US" sz="1400" spc="-100" dirty="0">
                <a:latin typeface="Meiryo UI" panose="020B0604030504040204" pitchFamily="50" charset="-128"/>
                <a:ea typeface="Meiryo UI" panose="020B0604030504040204" pitchFamily="50" charset="-128"/>
                <a:sym typeface="+mj-lt"/>
              </a:rPr>
              <a:t>７月～９月：導入に向けた現状整理・調査・分析</a:t>
            </a:r>
          </a:p>
          <a:p>
            <a:r>
              <a:rPr lang="ja-JP" altLang="en-US" sz="1400" spc="-100" dirty="0">
                <a:latin typeface="Meiryo UI" panose="020B0604030504040204" pitchFamily="50" charset="-128"/>
                <a:ea typeface="Meiryo UI" panose="020B0604030504040204" pitchFamily="50" charset="-128"/>
                <a:sym typeface="+mj-lt"/>
              </a:rPr>
              <a:t>現状の業務及び今後生じ得る業務の整理や現状の分析を行う。</a:t>
            </a:r>
          </a:p>
          <a:p>
            <a:r>
              <a:rPr lang="en-US" altLang="ja-JP" sz="1400" spc="-100" dirty="0">
                <a:latin typeface="Meiryo UI" panose="020B0604030504040204" pitchFamily="50" charset="-128"/>
                <a:ea typeface="Meiryo UI" panose="020B0604030504040204" pitchFamily="50" charset="-128"/>
                <a:sym typeface="+mj-lt"/>
              </a:rPr>
              <a:t>10</a:t>
            </a:r>
            <a:r>
              <a:rPr lang="ja-JP" altLang="en-US" sz="1400" spc="-100" dirty="0">
                <a:latin typeface="Meiryo UI" panose="020B0604030504040204" pitchFamily="50" charset="-128"/>
                <a:ea typeface="Meiryo UI" panose="020B0604030504040204" pitchFamily="50" charset="-128"/>
                <a:sym typeface="+mj-lt"/>
              </a:rPr>
              <a:t>月　　　　 ：組織立ち上げに係る実施計画作成</a:t>
            </a:r>
          </a:p>
          <a:p>
            <a:r>
              <a:rPr lang="ja-JP" altLang="en-US" sz="1400" spc="-100" dirty="0">
                <a:latin typeface="Meiryo UI" panose="020B0604030504040204" pitchFamily="50" charset="-128"/>
                <a:ea typeface="Meiryo UI" panose="020B0604030504040204" pitchFamily="50" charset="-128"/>
                <a:sym typeface="+mj-lt"/>
              </a:rPr>
              <a:t>現状の整理や調査・分析、関係者との調整を踏まえて、組織のあり方を整理し、当該組織の設計等も踏まえた実施計画を策定する。</a:t>
            </a:r>
          </a:p>
          <a:p>
            <a:r>
              <a:rPr lang="ja-JP" altLang="en-US" sz="1400" spc="-100" dirty="0">
                <a:latin typeface="Meiryo UI" panose="020B0604030504040204" pitchFamily="50" charset="-128"/>
                <a:ea typeface="Meiryo UI" panose="020B0604030504040204" pitchFamily="50" charset="-128"/>
                <a:sym typeface="+mj-lt"/>
              </a:rPr>
              <a:t>随時　　　　　：関係者・資金面の調整</a:t>
            </a:r>
          </a:p>
          <a:p>
            <a:r>
              <a:rPr lang="ja-JP" altLang="en-US" sz="1400" spc="-100" dirty="0">
                <a:latin typeface="Meiryo UI" panose="020B0604030504040204" pitchFamily="50" charset="-128"/>
                <a:ea typeface="Meiryo UI" panose="020B0604030504040204" pitchFamily="50" charset="-128"/>
                <a:sym typeface="+mj-lt"/>
              </a:rPr>
              <a:t>関係者との調整、支援メニューの検討等資金面の調整を行う。</a:t>
            </a:r>
          </a:p>
          <a:p>
            <a:r>
              <a:rPr lang="ja-JP" altLang="en-US" sz="1400" spc="-100" dirty="0">
                <a:latin typeface="Meiryo UI" panose="020B0604030504040204" pitchFamily="50" charset="-128"/>
                <a:ea typeface="Meiryo UI" panose="020B0604030504040204" pitchFamily="50" charset="-128"/>
                <a:sym typeface="+mj-lt"/>
              </a:rPr>
              <a:t>２月　　　 　：事務処理・組織立ち上げ</a:t>
            </a:r>
          </a:p>
          <a:p>
            <a:r>
              <a:rPr lang="ja-JP" altLang="en-US" sz="1400" spc="-100" dirty="0">
                <a:latin typeface="Meiryo UI" panose="020B0604030504040204" pitchFamily="50" charset="-128"/>
                <a:ea typeface="Meiryo UI" panose="020B0604030504040204" pitchFamily="50" charset="-128"/>
                <a:sym typeface="+mj-lt"/>
              </a:rPr>
              <a:t>組織を立ち上げるにあたっての事務手続（組織立ち上げ、補助金に係る申請等）を行い、２月下旬に新たな外部組織を立ち上げ、運営を開始。</a:t>
            </a:r>
          </a:p>
        </p:txBody>
      </p:sp>
      <p:sp>
        <p:nvSpPr>
          <p:cNvPr id="22" name="正方形/長方形 21">
            <a:extLst>
              <a:ext uri="{FF2B5EF4-FFF2-40B4-BE49-F238E27FC236}">
                <a16:creationId xmlns:a16="http://schemas.microsoft.com/office/drawing/2014/main" id="{8568BAB0-17A2-EEA8-1CAE-7F231AB8E08F}"/>
              </a:ext>
            </a:extLst>
          </p:cNvPr>
          <p:cNvSpPr/>
          <p:nvPr/>
        </p:nvSpPr>
        <p:spPr bwMode="auto">
          <a:xfrm>
            <a:off x="80962" y="4040292"/>
            <a:ext cx="1440000" cy="2789715"/>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実施手順</a:t>
            </a:r>
            <a:endParaRPr lang="zh-TW" altLang="en-US" sz="1400" b="1">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3D15598-606A-1598-111B-D766B85B786E}"/>
              </a:ext>
            </a:extLst>
          </p:cNvPr>
          <p:cNvSpPr/>
          <p:nvPr/>
        </p:nvSpPr>
        <p:spPr bwMode="auto">
          <a:xfrm>
            <a:off x="1615438" y="4040292"/>
            <a:ext cx="2917945" cy="278971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の実施手順の全体像と</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その詳細を記載</a:t>
            </a:r>
          </a:p>
        </p:txBody>
      </p:sp>
    </p:spTree>
    <p:extLst>
      <p:ext uri="{BB962C8B-B14F-4D97-AF65-F5344CB8AC3E}">
        <p14:creationId xmlns:p14="http://schemas.microsoft.com/office/powerpoint/2010/main" val="316286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C2584-521B-9D25-4359-E8A06EB2F0E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01DD7D-AA31-F97E-7A18-F808DD0E5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4" name="think-cell data - do not delete" hidden="1">
                        <a:extLst>
                          <a:ext uri="{FF2B5EF4-FFF2-40B4-BE49-F238E27FC236}">
                            <a16:creationId xmlns:a16="http://schemas.microsoft.com/office/drawing/2014/main" id="{7401DD7D-AA31-F97E-7A18-F808DD0E5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9E7B8BEA-DF74-B9F4-DF1F-020CD5ABE4BB}"/>
              </a:ext>
            </a:extLst>
          </p:cNvPr>
          <p:cNvSpPr txBox="1"/>
          <p:nvPr/>
        </p:nvSpPr>
        <p:spPr>
          <a:xfrm>
            <a:off x="80962" y="574403"/>
            <a:ext cx="1255076"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名称</a:t>
            </a:r>
          </a:p>
        </p:txBody>
      </p:sp>
      <p:sp>
        <p:nvSpPr>
          <p:cNvPr id="20" name="正方形/長方形 19">
            <a:extLst>
              <a:ext uri="{FF2B5EF4-FFF2-40B4-BE49-F238E27FC236}">
                <a16:creationId xmlns:a16="http://schemas.microsoft.com/office/drawing/2014/main" id="{B04B1ABD-C880-4FEE-6AEF-A53B94B6C5D3}"/>
              </a:ext>
            </a:extLst>
          </p:cNvPr>
          <p:cNvSpPr/>
          <p:nvPr/>
        </p:nvSpPr>
        <p:spPr bwMode="auto">
          <a:xfrm>
            <a:off x="80962" y="893645"/>
            <a:ext cx="1224000" cy="468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費</a:t>
            </a:r>
          </a:p>
        </p:txBody>
      </p:sp>
      <p:sp>
        <p:nvSpPr>
          <p:cNvPr id="11" name="テキスト ボックス 10">
            <a:extLst>
              <a:ext uri="{FF2B5EF4-FFF2-40B4-BE49-F238E27FC236}">
                <a16:creationId xmlns:a16="http://schemas.microsoft.com/office/drawing/2014/main" id="{18247926-9F0C-315A-A247-8A6E41AA7BA0}"/>
              </a:ext>
            </a:extLst>
          </p:cNvPr>
          <p:cNvSpPr txBox="1"/>
          <p:nvPr/>
        </p:nvSpPr>
        <p:spPr>
          <a:xfrm>
            <a:off x="4234158" y="574403"/>
            <a:ext cx="4860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具体的な記載例</a:t>
            </a:r>
          </a:p>
        </p:txBody>
      </p:sp>
      <p:sp>
        <p:nvSpPr>
          <p:cNvPr id="16" name="正方形/長方形 15">
            <a:extLst>
              <a:ext uri="{FF2B5EF4-FFF2-40B4-BE49-F238E27FC236}">
                <a16:creationId xmlns:a16="http://schemas.microsoft.com/office/drawing/2014/main" id="{3F3FB79F-C016-97E1-CB93-87F766A25BD4}"/>
              </a:ext>
            </a:extLst>
          </p:cNvPr>
          <p:cNvSpPr/>
          <p:nvPr/>
        </p:nvSpPr>
        <p:spPr bwMode="auto">
          <a:xfrm>
            <a:off x="4234158" y="893645"/>
            <a:ext cx="4860000" cy="468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事業全体費用</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a:t>
            </a:r>
            <a:r>
              <a:rPr lang="en-US" altLang="ja-JP" sz="1400">
                <a:solidFill>
                  <a:prstClr val="black"/>
                </a:solidFill>
                <a:latin typeface="HGP創英角ｺﾞｼｯｸUB"/>
                <a:ea typeface="Meiryo UI" panose="020B0604030504040204" pitchFamily="50" charset="-128"/>
              </a:rPr>
              <a:t>10,000,000</a:t>
            </a:r>
            <a:r>
              <a:rPr lang="ja-JP" altLang="en-US" sz="1400">
                <a:solidFill>
                  <a:prstClr val="black"/>
                </a:solidFill>
                <a:latin typeface="HGP創英角ｺﾞｼｯｸUB"/>
                <a:ea typeface="Meiryo UI" panose="020B0604030504040204" pitchFamily="50" charset="-128"/>
              </a:rPr>
              <a:t>円</a:t>
            </a:r>
          </a:p>
          <a:p>
            <a:pPr marL="285750" indent="-285750">
              <a:buFont typeface="Wingdings" panose="05000000000000000000" pitchFamily="2" charset="2"/>
              <a:buChar char="Ø"/>
            </a:pP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補助対象経費（収入分を除く）</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a:t>
            </a:r>
            <a:r>
              <a:rPr lang="en-US" altLang="ja-JP" sz="1400">
                <a:solidFill>
                  <a:prstClr val="black"/>
                </a:solidFill>
                <a:latin typeface="HGP創英角ｺﾞｼｯｸUB"/>
                <a:ea typeface="Meiryo UI" panose="020B0604030504040204" pitchFamily="50" charset="-128"/>
              </a:rPr>
              <a:t> 10,000,000</a:t>
            </a:r>
            <a:r>
              <a:rPr lang="ja-JP" altLang="en-US" sz="1400">
                <a:solidFill>
                  <a:prstClr val="black"/>
                </a:solidFill>
                <a:latin typeface="HGP創英角ｺﾞｼｯｸUB"/>
                <a:ea typeface="Meiryo UI" panose="020B0604030504040204" pitchFamily="50" charset="-128"/>
              </a:rPr>
              <a:t>円</a:t>
            </a:r>
          </a:p>
        </p:txBody>
      </p:sp>
      <p:sp>
        <p:nvSpPr>
          <p:cNvPr id="30" name="正方形/長方形 29">
            <a:extLst>
              <a:ext uri="{FF2B5EF4-FFF2-40B4-BE49-F238E27FC236}">
                <a16:creationId xmlns:a16="http://schemas.microsoft.com/office/drawing/2014/main" id="{294708EF-DF87-F3AA-D2CD-3270E245D58F}"/>
              </a:ext>
            </a:extLst>
          </p:cNvPr>
          <p:cNvSpPr/>
          <p:nvPr/>
        </p:nvSpPr>
        <p:spPr bwMode="auto">
          <a:xfrm>
            <a:off x="4234158" y="1382441"/>
            <a:ext cx="4860000" cy="2672921"/>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lvl="0" defTabSz="906146">
              <a:lnSpc>
                <a:spcPts val="1400"/>
              </a:lnSpc>
              <a:defRPr/>
            </a:pPr>
            <a:r>
              <a:rPr lang="ja-JP" altLang="en-US" sz="1200" spc="-150" dirty="0">
                <a:latin typeface="Meiryo UI" panose="020B0604030504040204" pitchFamily="50" charset="-128"/>
                <a:ea typeface="Meiryo UI" panose="020B0604030504040204" pitchFamily="50" charset="-128"/>
              </a:rPr>
              <a:t>・事業検討</a:t>
            </a:r>
          </a:p>
          <a:p>
            <a:pPr lvl="0" defTabSz="906146">
              <a:lnSpc>
                <a:spcPts val="1400"/>
              </a:lnSpc>
              <a:defRPr/>
            </a:pPr>
            <a:r>
              <a:rPr lang="ja-JP" altLang="en-US" sz="1200" spc="-150" dirty="0">
                <a:latin typeface="Meiryo UI" panose="020B0604030504040204" pitchFamily="50" charset="-128"/>
                <a:ea typeface="Meiryo UI" panose="020B0604030504040204" pitchFamily="50" charset="-128"/>
              </a:rPr>
              <a:t>先進事例を学ぶ勉強会等を開催し、組織立ち上げに向けて素案を作成する。</a:t>
            </a:r>
          </a:p>
          <a:p>
            <a:pPr lvl="0" defTabSz="906146">
              <a:lnSpc>
                <a:spcPts val="1400"/>
              </a:lnSpc>
              <a:defRPr/>
            </a:pPr>
            <a:r>
              <a:rPr lang="ja-JP" altLang="en-US" sz="1200" spc="-150" dirty="0">
                <a:latin typeface="Meiryo UI" panose="020B0604030504040204" pitchFamily="50" charset="-128"/>
                <a:ea typeface="Meiryo UI" panose="020B0604030504040204" pitchFamily="50" charset="-128"/>
              </a:rPr>
              <a:t>・組織の立ち上げに向けた現状整理・調査・分析</a:t>
            </a:r>
          </a:p>
          <a:p>
            <a:pPr lvl="0" defTabSz="906146">
              <a:lnSpc>
                <a:spcPts val="1400"/>
              </a:lnSpc>
              <a:defRPr/>
            </a:pPr>
            <a:r>
              <a:rPr lang="ja-JP" altLang="en-US" sz="1200" spc="-150" dirty="0">
                <a:latin typeface="Meiryo UI" panose="020B0604030504040204" pitchFamily="50" charset="-128"/>
                <a:ea typeface="Meiryo UI" panose="020B0604030504040204" pitchFamily="50" charset="-128"/>
              </a:rPr>
              <a:t>現状の業務、今後発生が見込まれる業務、新たな組織が行う予定の具体的な業務等を整理する。また、現状の地域の公共交通の調査・分析を通じて組織の方向性を検討する。</a:t>
            </a:r>
          </a:p>
          <a:p>
            <a:pPr lvl="0" defTabSz="906146">
              <a:lnSpc>
                <a:spcPts val="1400"/>
              </a:lnSpc>
              <a:defRPr/>
            </a:pPr>
            <a:r>
              <a:rPr lang="ja-JP" altLang="en-US" sz="1200" spc="-150" dirty="0">
                <a:latin typeface="Meiryo UI" panose="020B0604030504040204" pitchFamily="50" charset="-128"/>
                <a:ea typeface="Meiryo UI" panose="020B0604030504040204" pitchFamily="50" charset="-128"/>
              </a:rPr>
              <a:t>・</a:t>
            </a:r>
            <a:r>
              <a:rPr lang="ja-JP" altLang="en-US" sz="1200" spc="-100" dirty="0">
                <a:latin typeface="Meiryo UI" panose="020B0604030504040204" pitchFamily="50" charset="-128"/>
                <a:ea typeface="Meiryo UI" panose="020B0604030504040204" pitchFamily="50" charset="-128"/>
                <a:sym typeface="+mj-lt"/>
              </a:rPr>
              <a:t>組織立ち上げに係る</a:t>
            </a:r>
            <a:r>
              <a:rPr lang="ja-JP" altLang="en-US" sz="1200" spc="-150" dirty="0">
                <a:latin typeface="Meiryo UI" panose="020B0604030504040204" pitchFamily="50" charset="-128"/>
                <a:ea typeface="Meiryo UI" panose="020B0604030504040204" pitchFamily="50" charset="-128"/>
              </a:rPr>
              <a:t>実施計画作成</a:t>
            </a:r>
          </a:p>
          <a:p>
            <a:pPr lvl="0" defTabSz="906146">
              <a:lnSpc>
                <a:spcPts val="1400"/>
              </a:lnSpc>
              <a:defRPr/>
            </a:pPr>
            <a:r>
              <a:rPr lang="ja-JP" altLang="en-US" sz="1200" spc="-150" dirty="0">
                <a:latin typeface="Meiryo UI" panose="020B0604030504040204" pitchFamily="50" charset="-128"/>
                <a:ea typeface="Meiryo UI" panose="020B0604030504040204" pitchFamily="50" charset="-128"/>
              </a:rPr>
              <a:t>現状整理や調査・分析、関係者との調整を踏まえて、新たな組織の在り方を整理し、ガバナンスや機動性、移行に係る事務作業も加味しつつ総合的な組織形態・設計等を踏まえた実施計画・定款を策定する。</a:t>
            </a:r>
          </a:p>
          <a:p>
            <a:pPr lvl="0" defTabSz="906146">
              <a:lnSpc>
                <a:spcPts val="1400"/>
              </a:lnSpc>
              <a:defRPr/>
            </a:pPr>
            <a:r>
              <a:rPr lang="ja-JP" altLang="en-US" sz="1200" spc="-150" dirty="0">
                <a:latin typeface="Meiryo UI" panose="020B0604030504040204" pitchFamily="50" charset="-128"/>
                <a:ea typeface="Meiryo UI" panose="020B0604030504040204" pitchFamily="50" charset="-128"/>
              </a:rPr>
              <a:t>・関係者との調整</a:t>
            </a:r>
          </a:p>
          <a:p>
            <a:pPr lvl="0" defTabSz="906146">
              <a:lnSpc>
                <a:spcPts val="1400"/>
              </a:lnSpc>
              <a:defRPr/>
            </a:pPr>
            <a:r>
              <a:rPr lang="ja-JP" altLang="en-US" sz="1200" spc="-150" dirty="0">
                <a:latin typeface="Meiryo UI" panose="020B0604030504040204" pitchFamily="50" charset="-128"/>
                <a:ea typeface="Meiryo UI" panose="020B0604030504040204" pitchFamily="50" charset="-128"/>
              </a:rPr>
              <a:t>地域の関係者と協議会等を通じて調整を行う。また、関係者との資金面の調整や財政支援メニューの検討を行う。</a:t>
            </a:r>
          </a:p>
          <a:p>
            <a:pPr lvl="0" defTabSz="906146">
              <a:lnSpc>
                <a:spcPts val="1400"/>
              </a:lnSpc>
              <a:defRPr/>
            </a:pPr>
            <a:r>
              <a:rPr lang="ja-JP" altLang="en-US" sz="1200" spc="-150" dirty="0">
                <a:latin typeface="Meiryo UI" panose="020B0604030504040204" pitchFamily="50" charset="-128"/>
                <a:ea typeface="Meiryo UI" panose="020B0604030504040204" pitchFamily="50" charset="-128"/>
              </a:rPr>
              <a:t>・事務処理</a:t>
            </a:r>
          </a:p>
          <a:p>
            <a:pPr lvl="0" defTabSz="906146">
              <a:lnSpc>
                <a:spcPts val="1400"/>
              </a:lnSpc>
              <a:defRPr/>
            </a:pPr>
            <a:r>
              <a:rPr lang="ja-JP" altLang="en-US" sz="1200" spc="-150" dirty="0">
                <a:latin typeface="Meiryo UI" panose="020B0604030504040204" pitchFamily="50" charset="-128"/>
                <a:ea typeface="Meiryo UI" panose="020B0604030504040204" pitchFamily="50" charset="-128"/>
              </a:rPr>
              <a:t>組織を立ち上げるにあたっての法人登記・契約業務等を行う。</a:t>
            </a:r>
          </a:p>
        </p:txBody>
      </p:sp>
      <p:sp>
        <p:nvSpPr>
          <p:cNvPr id="10" name="テキスト ボックス 9">
            <a:extLst>
              <a:ext uri="{FF2B5EF4-FFF2-40B4-BE49-F238E27FC236}">
                <a16:creationId xmlns:a16="http://schemas.microsoft.com/office/drawing/2014/main" id="{91533C29-D9E5-5886-6EA6-93DB7D93B7F8}"/>
              </a:ext>
            </a:extLst>
          </p:cNvPr>
          <p:cNvSpPr txBox="1"/>
          <p:nvPr/>
        </p:nvSpPr>
        <p:spPr>
          <a:xfrm>
            <a:off x="1373362" y="574403"/>
            <a:ext cx="2808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の概要</a:t>
            </a:r>
          </a:p>
        </p:txBody>
      </p:sp>
      <p:sp>
        <p:nvSpPr>
          <p:cNvPr id="13" name="正方形/長方形 12">
            <a:extLst>
              <a:ext uri="{FF2B5EF4-FFF2-40B4-BE49-F238E27FC236}">
                <a16:creationId xmlns:a16="http://schemas.microsoft.com/office/drawing/2014/main" id="{C9931644-291F-A6A4-AF42-672A29DB4842}"/>
              </a:ext>
            </a:extLst>
          </p:cNvPr>
          <p:cNvSpPr/>
          <p:nvPr/>
        </p:nvSpPr>
        <p:spPr bwMode="auto">
          <a:xfrm>
            <a:off x="1373362" y="893645"/>
            <a:ext cx="2808000" cy="468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dirty="0">
                <a:solidFill>
                  <a:prstClr val="black"/>
                </a:solidFill>
                <a:latin typeface="HGP創英角ｺﾞｼｯｸUB"/>
                <a:ea typeface="Meiryo UI" panose="020B0604030504040204" pitchFamily="50" charset="-128"/>
              </a:rPr>
              <a:t>事業費全体や内数としての補助対象経費の額を記載</a:t>
            </a:r>
          </a:p>
        </p:txBody>
      </p:sp>
      <p:sp>
        <p:nvSpPr>
          <p:cNvPr id="29" name="正方形/長方形 28">
            <a:extLst>
              <a:ext uri="{FF2B5EF4-FFF2-40B4-BE49-F238E27FC236}">
                <a16:creationId xmlns:a16="http://schemas.microsoft.com/office/drawing/2014/main" id="{BD168CE9-183E-EF59-3FE6-75B37CD88F4D}"/>
              </a:ext>
            </a:extLst>
          </p:cNvPr>
          <p:cNvSpPr/>
          <p:nvPr/>
        </p:nvSpPr>
        <p:spPr bwMode="auto">
          <a:xfrm>
            <a:off x="1373362" y="1391772"/>
            <a:ext cx="2808000" cy="2645787"/>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人材・組織育成の内容および手法について、具体的な内容や、関与する関係者を含めて記載</a:t>
            </a:r>
          </a:p>
        </p:txBody>
      </p:sp>
      <p:sp>
        <p:nvSpPr>
          <p:cNvPr id="31" name="正方形/長方形 30">
            <a:extLst>
              <a:ext uri="{FF2B5EF4-FFF2-40B4-BE49-F238E27FC236}">
                <a16:creationId xmlns:a16="http://schemas.microsoft.com/office/drawing/2014/main" id="{2DDB0F87-D1C1-68EE-D339-A3CC5CFDDB94}"/>
              </a:ext>
            </a:extLst>
          </p:cNvPr>
          <p:cNvSpPr/>
          <p:nvPr/>
        </p:nvSpPr>
        <p:spPr bwMode="auto">
          <a:xfrm>
            <a:off x="1373362" y="4074024"/>
            <a:ext cx="2808000" cy="2255858"/>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により期待される定性・定量</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効果を記載</a:t>
            </a:r>
          </a:p>
        </p:txBody>
      </p:sp>
      <p:sp>
        <p:nvSpPr>
          <p:cNvPr id="32" name="正方形/長方形 31">
            <a:extLst>
              <a:ext uri="{FF2B5EF4-FFF2-40B4-BE49-F238E27FC236}">
                <a16:creationId xmlns:a16="http://schemas.microsoft.com/office/drawing/2014/main" id="{3F2B71A5-4CBB-244D-EA8A-0B6643C2D6F0}"/>
              </a:ext>
            </a:extLst>
          </p:cNvPr>
          <p:cNvSpPr/>
          <p:nvPr/>
        </p:nvSpPr>
        <p:spPr bwMode="auto">
          <a:xfrm>
            <a:off x="4234158" y="4074024"/>
            <a:ext cx="4860000" cy="2255858"/>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lvl="0" defTabSz="906146">
              <a:defRPr/>
            </a:pPr>
            <a:r>
              <a:rPr lang="ja-JP" altLang="en-US" sz="1300" spc="-150" dirty="0">
                <a:latin typeface="Meiryo UI" panose="020B0604030504040204" pitchFamily="50" charset="-128"/>
                <a:ea typeface="Meiryo UI" panose="020B0604030504040204" pitchFamily="50" charset="-128"/>
              </a:rPr>
              <a:t>①地方公共団体の業務効率化、負担低減</a:t>
            </a:r>
            <a:endParaRPr lang="en-US" altLang="ja-JP" sz="1300" spc="-150" dirty="0">
              <a:latin typeface="Meiryo UI" panose="020B0604030504040204" pitchFamily="50" charset="-128"/>
              <a:ea typeface="Meiryo UI" panose="020B0604030504040204" pitchFamily="50" charset="-128"/>
            </a:endParaRPr>
          </a:p>
          <a:p>
            <a:pPr lvl="0" defTabSz="906146">
              <a:defRPr/>
            </a:pPr>
            <a:r>
              <a:rPr lang="ja-JP" altLang="en-US" sz="1300" spc="-150" dirty="0">
                <a:latin typeface="Meiryo UI" panose="020B0604030504040204" pitchFamily="50" charset="-128"/>
                <a:ea typeface="Meiryo UI" panose="020B0604030504040204" pitchFamily="50" charset="-128"/>
              </a:rPr>
              <a:t>　地域公共交通の</a:t>
            </a:r>
            <a:r>
              <a:rPr lang="en-US" altLang="ja-JP" sz="1300" spc="-150" dirty="0">
                <a:latin typeface="Meiryo UI" panose="020B0604030504040204" pitchFamily="50" charset="-128"/>
                <a:ea typeface="Meiryo UI" panose="020B0604030504040204" pitchFamily="50" charset="-128"/>
              </a:rPr>
              <a:t>PDCA</a:t>
            </a:r>
            <a:r>
              <a:rPr lang="ja-JP" altLang="en-US" sz="1300" spc="-150" dirty="0">
                <a:latin typeface="Meiryo UI" panose="020B0604030504040204" pitchFamily="50" charset="-128"/>
                <a:ea typeface="Meiryo UI" panose="020B0604030504040204" pitchFamily="50" charset="-128"/>
              </a:rPr>
              <a:t>サイクルの迅速化や資料作成及び関係者との調整等の職員の負担となっていた業務の効率化により、交通政策担当者の業務時間を減少させることができる。（定量的な内容も含む）</a:t>
            </a:r>
            <a:endParaRPr lang="en-US" altLang="ja-JP" sz="1300" spc="-150" dirty="0">
              <a:latin typeface="Meiryo UI" panose="020B0604030504040204" pitchFamily="50" charset="-128"/>
              <a:ea typeface="Meiryo UI" panose="020B0604030504040204" pitchFamily="50" charset="-128"/>
            </a:endParaRPr>
          </a:p>
          <a:p>
            <a:pPr lvl="0" defTabSz="906146">
              <a:defRPr/>
            </a:pPr>
            <a:r>
              <a:rPr lang="ja-JP" altLang="en-US" sz="1300" spc="-150" dirty="0">
                <a:latin typeface="Meiryo UI" panose="020B0604030504040204" pitchFamily="50" charset="-128"/>
                <a:ea typeface="Meiryo UI" panose="020B0604030504040204" pitchFamily="50" charset="-128"/>
              </a:rPr>
              <a:t>②効率化による地域公共交通業務の拡大</a:t>
            </a:r>
            <a:endParaRPr lang="en-US" altLang="ja-JP" sz="1300" spc="-150" dirty="0">
              <a:latin typeface="Meiryo UI" panose="020B0604030504040204" pitchFamily="50" charset="-128"/>
              <a:ea typeface="Meiryo UI" panose="020B0604030504040204" pitchFamily="50" charset="-128"/>
            </a:endParaRPr>
          </a:p>
          <a:p>
            <a:pPr lvl="0" defTabSz="906146">
              <a:defRPr/>
            </a:pPr>
            <a:r>
              <a:rPr lang="ja-JP" altLang="en-US" sz="1300" spc="-150" dirty="0">
                <a:latin typeface="Meiryo UI" panose="020B0604030504040204" pitchFamily="50" charset="-128"/>
                <a:ea typeface="Meiryo UI" panose="020B0604030504040204" pitchFamily="50" charset="-128"/>
              </a:rPr>
              <a:t>　体制不足で検討・実施ができていなかった新たな運送サービスの実証運行や他分野との連携、緊急時の対応等の迅速な施策運営が可能となる。</a:t>
            </a:r>
            <a:endParaRPr lang="en-US" altLang="ja-JP" sz="1300" spc="-150" dirty="0">
              <a:latin typeface="Meiryo UI" panose="020B0604030504040204" pitchFamily="50" charset="-128"/>
              <a:ea typeface="Meiryo UI" panose="020B0604030504040204" pitchFamily="50" charset="-128"/>
            </a:endParaRPr>
          </a:p>
          <a:p>
            <a:pPr lvl="0" defTabSz="906146">
              <a:defRPr/>
            </a:pPr>
            <a:r>
              <a:rPr lang="ja-JP" altLang="en-US" sz="1300" spc="-150" dirty="0">
                <a:latin typeface="Meiryo UI" panose="020B0604030504040204" pitchFamily="50" charset="-128"/>
                <a:ea typeface="Meiryo UI" panose="020B0604030504040204" pitchFamily="50" charset="-128"/>
              </a:rPr>
              <a:t>③地域のネットワーク再編・結節強化により、利用者の待ち時間短縮や実車率の改善につながり、利便性の向上を見込むことができる。</a:t>
            </a:r>
            <a:endParaRPr lang="en-US" altLang="ja-JP" sz="1300" spc="-150" dirty="0">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0ED63584-DCF6-525A-98A4-8D720D6F9892}"/>
              </a:ext>
            </a:extLst>
          </p:cNvPr>
          <p:cNvSpPr/>
          <p:nvPr/>
        </p:nvSpPr>
        <p:spPr bwMode="auto">
          <a:xfrm>
            <a:off x="80962" y="1391771"/>
            <a:ext cx="1224000" cy="2627755"/>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概要</a:t>
            </a:r>
          </a:p>
        </p:txBody>
      </p:sp>
      <p:sp>
        <p:nvSpPr>
          <p:cNvPr id="41" name="正方形/長方形 40">
            <a:extLst>
              <a:ext uri="{FF2B5EF4-FFF2-40B4-BE49-F238E27FC236}">
                <a16:creationId xmlns:a16="http://schemas.microsoft.com/office/drawing/2014/main" id="{46243CBB-3205-4CB3-55B6-2BE8D90B9090}"/>
              </a:ext>
            </a:extLst>
          </p:cNvPr>
          <p:cNvSpPr/>
          <p:nvPr/>
        </p:nvSpPr>
        <p:spPr bwMode="auto">
          <a:xfrm>
            <a:off x="80962" y="4081254"/>
            <a:ext cx="1224000" cy="2215781"/>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見込まれる</a:t>
            </a:r>
            <a:endParaRPr lang="en-US" altLang="ja-JP" sz="1400" b="1">
              <a:solidFill>
                <a:schemeClr val="bg1"/>
              </a:solidFill>
              <a:latin typeface="Meiryo UI" panose="020B0604030504040204" pitchFamily="50" charset="-128"/>
              <a:ea typeface="Meiryo UI" panose="020B0604030504040204" pitchFamily="50" charset="-128"/>
            </a:endParaRPr>
          </a:p>
          <a:p>
            <a:pPr algn="ctr"/>
            <a:r>
              <a:rPr lang="ja-JP" altLang="en-US" sz="1400" b="1">
                <a:solidFill>
                  <a:schemeClr val="bg1"/>
                </a:solidFill>
                <a:latin typeface="Meiryo UI" panose="020B0604030504040204" pitchFamily="50" charset="-128"/>
                <a:ea typeface="Meiryo UI" panose="020B0604030504040204" pitchFamily="50" charset="-128"/>
              </a:rPr>
              <a:t>事業効果</a:t>
            </a:r>
          </a:p>
        </p:txBody>
      </p:sp>
      <p:sp>
        <p:nvSpPr>
          <p:cNvPr id="7" name="タイトル 1">
            <a:extLst>
              <a:ext uri="{FF2B5EF4-FFF2-40B4-BE49-F238E27FC236}">
                <a16:creationId xmlns:a16="http://schemas.microsoft.com/office/drawing/2014/main" id="{CBA1BA8E-9708-3DCE-5263-D3E89B662F97}"/>
              </a:ext>
            </a:extLst>
          </p:cNvPr>
          <p:cNvSpPr txBox="1">
            <a:spLocks/>
          </p:cNvSpPr>
          <p:nvPr/>
        </p:nvSpPr>
        <p:spPr>
          <a:xfrm>
            <a:off x="0" y="-324"/>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応募様式アに係る記載項目の説明 （</a:t>
            </a:r>
            <a:r>
              <a:rPr lang="en-US" altLang="ja-JP" sz="2400" kern="0">
                <a:latin typeface="HGP創英角ｺﾞｼｯｸUB"/>
                <a:ea typeface="HGP創英角ｺﾞｼｯｸUB"/>
              </a:rPr>
              <a:t>2</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2</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endPar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p:txBody>
      </p:sp>
      <p:sp>
        <p:nvSpPr>
          <p:cNvPr id="9" name="正方形/長方形 8">
            <a:extLst>
              <a:ext uri="{FF2B5EF4-FFF2-40B4-BE49-F238E27FC236}">
                <a16:creationId xmlns:a16="http://schemas.microsoft.com/office/drawing/2014/main" id="{BB16184B-58DF-F6C4-E7AC-35041ED84526}"/>
              </a:ext>
            </a:extLst>
          </p:cNvPr>
          <p:cNvSpPr/>
          <p:nvPr/>
        </p:nvSpPr>
        <p:spPr bwMode="auto">
          <a:xfrm>
            <a:off x="4234158" y="6358762"/>
            <a:ext cx="4860000" cy="468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dirty="0">
                <a:latin typeface="HGP創英角ｺﾞｼｯｸUB"/>
                <a:ea typeface="Meiryo UI" panose="020B0604030504040204" pitchFamily="50" charset="-128"/>
              </a:rPr>
              <a:t>事業</a:t>
            </a:r>
            <a:r>
              <a:rPr lang="ja-JP" altLang="en-US" sz="1400" dirty="0">
                <a:latin typeface="Meiryo UI" panose="020B0604030504040204" pitchFamily="50" charset="-128"/>
                <a:ea typeface="Meiryo UI" panose="020B0604030504040204" pitchFamily="50" charset="-128"/>
              </a:rPr>
              <a:t>主体：</a:t>
            </a:r>
            <a:r>
              <a:rPr lang="en-US" altLang="ja-JP" sz="1400" dirty="0">
                <a:latin typeface="Meiryo UI" panose="020B0604030504040204" pitchFamily="50" charset="-128"/>
                <a:ea typeface="Meiryo UI" panose="020B0604030504040204" pitchFamily="50" charset="-128"/>
              </a:rPr>
              <a:t>XX</a:t>
            </a:r>
            <a:r>
              <a:rPr lang="ja-JP" altLang="en-US" sz="1400" dirty="0">
                <a:latin typeface="Meiryo UI" panose="020B0604030504040204" pitchFamily="50" charset="-128"/>
                <a:ea typeface="Meiryo UI" panose="020B0604030504040204" pitchFamily="50" charset="-128"/>
              </a:rPr>
              <a:t>市地域公共交通協議会</a:t>
            </a:r>
            <a:endParaRPr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400" dirty="0">
                <a:latin typeface="HGP創英角ｺﾞｼｯｸUB"/>
                <a:ea typeface="Meiryo UI" panose="020B0604030504040204" pitchFamily="50" charset="-128"/>
              </a:rPr>
              <a:t>連携会社</a:t>
            </a:r>
            <a:r>
              <a:rPr lang="ja-JP" altLang="en-US" sz="1400" dirty="0">
                <a:latin typeface="Meiryo UI" panose="020B0604030504040204" pitchFamily="50" charset="-128"/>
                <a:ea typeface="Meiryo UI" panose="020B0604030504040204" pitchFamily="50" charset="-128"/>
              </a:rPr>
              <a:t>：株式会社</a:t>
            </a:r>
            <a:r>
              <a:rPr lang="en-US" altLang="ja-JP" sz="1400" dirty="0">
                <a:latin typeface="Meiryo UI" panose="020B0604030504040204" pitchFamily="50" charset="-128"/>
                <a:ea typeface="Meiryo UI" panose="020B0604030504040204" pitchFamily="50" charset="-128"/>
              </a:rPr>
              <a:t>Z</a:t>
            </a:r>
          </a:p>
        </p:txBody>
      </p:sp>
      <p:sp>
        <p:nvSpPr>
          <p:cNvPr id="23" name="正方形/長方形 22">
            <a:extLst>
              <a:ext uri="{FF2B5EF4-FFF2-40B4-BE49-F238E27FC236}">
                <a16:creationId xmlns:a16="http://schemas.microsoft.com/office/drawing/2014/main" id="{39EBC534-CA99-F174-E4E2-BCE633B826B7}"/>
              </a:ext>
            </a:extLst>
          </p:cNvPr>
          <p:cNvSpPr/>
          <p:nvPr/>
        </p:nvSpPr>
        <p:spPr bwMode="auto">
          <a:xfrm>
            <a:off x="1373362" y="6366346"/>
            <a:ext cx="2808000" cy="468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を実施する体制や</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組織の関係性を記載</a:t>
            </a:r>
          </a:p>
        </p:txBody>
      </p:sp>
      <p:sp>
        <p:nvSpPr>
          <p:cNvPr id="24" name="正方形/長方形 23">
            <a:extLst>
              <a:ext uri="{FF2B5EF4-FFF2-40B4-BE49-F238E27FC236}">
                <a16:creationId xmlns:a16="http://schemas.microsoft.com/office/drawing/2014/main" id="{3AF49A19-0226-4121-1404-0FEAEBBAB2D0}"/>
              </a:ext>
            </a:extLst>
          </p:cNvPr>
          <p:cNvSpPr/>
          <p:nvPr/>
        </p:nvSpPr>
        <p:spPr bwMode="auto">
          <a:xfrm>
            <a:off x="80962" y="6358762"/>
            <a:ext cx="1224000" cy="468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実施体制</a:t>
            </a:r>
          </a:p>
        </p:txBody>
      </p:sp>
    </p:spTree>
    <p:extLst>
      <p:ext uri="{BB962C8B-B14F-4D97-AF65-F5344CB8AC3E}">
        <p14:creationId xmlns:p14="http://schemas.microsoft.com/office/powerpoint/2010/main" val="2048520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055FD-FA9E-5561-E866-A1BA44BBE4B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65338D-C766-530B-4889-E2A52090D7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DE65338D-C766-530B-4889-E2A52090D7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D23CC6E-2299-03B2-E581-8E7649341A4A}"/>
              </a:ext>
            </a:extLst>
          </p:cNvPr>
          <p:cNvSpPr txBox="1"/>
          <p:nvPr/>
        </p:nvSpPr>
        <p:spPr>
          <a:xfrm>
            <a:off x="106131" y="3505320"/>
            <a:ext cx="929005"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実施手順</a:t>
            </a:r>
          </a:p>
        </p:txBody>
      </p:sp>
      <p:sp>
        <p:nvSpPr>
          <p:cNvPr id="4" name="テキスト ボックス 3">
            <a:extLst>
              <a:ext uri="{FF2B5EF4-FFF2-40B4-BE49-F238E27FC236}">
                <a16:creationId xmlns:a16="http://schemas.microsoft.com/office/drawing/2014/main" id="{C3A864C0-A69E-63F2-8B05-FD928BF6AC93}"/>
              </a:ext>
            </a:extLst>
          </p:cNvPr>
          <p:cNvSpPr txBox="1"/>
          <p:nvPr/>
        </p:nvSpPr>
        <p:spPr>
          <a:xfrm>
            <a:off x="1756426" y="1337380"/>
            <a:ext cx="751255"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r>
              <a:rPr lang="ja-JP" altLang="en-US" sz="1400" b="1">
                <a:solidFill>
                  <a:schemeClr val="bg1"/>
                </a:solidFill>
                <a:latin typeface="Meiryo UI" panose="020B0604030504040204" pitchFamily="50" charset="-128"/>
                <a:ea typeface="Meiryo UI" panose="020B0604030504040204" pitchFamily="50" charset="-128"/>
              </a:rPr>
              <a:t>事業費</a:t>
            </a:r>
          </a:p>
        </p:txBody>
      </p:sp>
      <p:sp>
        <p:nvSpPr>
          <p:cNvPr id="8" name="タイトル 1">
            <a:extLst>
              <a:ext uri="{FF2B5EF4-FFF2-40B4-BE49-F238E27FC236}">
                <a16:creationId xmlns:a16="http://schemas.microsoft.com/office/drawing/2014/main" id="{100B3684-D8F0-F564-566A-702E3A3F5588}"/>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lvl="0" defTabSz="719255">
              <a:defRPr/>
            </a:pP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lang="ja-JP" altLang="en-US" sz="1600" kern="0"/>
              <a:t>●県</a:t>
            </a:r>
            <a:r>
              <a:rPr lang="en-US" altLang="ja-JP" sz="1600" kern="0"/>
              <a:t>XX</a:t>
            </a:r>
            <a:r>
              <a:rPr lang="ja-JP" altLang="en-US" sz="1600" kern="0"/>
              <a:t>市、</a:t>
            </a:r>
            <a:r>
              <a:rPr lang="en-US" altLang="ja-JP" sz="1600" kern="0"/>
              <a:t>YY</a:t>
            </a:r>
            <a:r>
              <a:rPr lang="ja-JP" altLang="en-US" sz="1600" kern="0"/>
              <a:t>市</a:t>
            </a:r>
            <a:r>
              <a:rPr lang="en-US" altLang="ja-JP" sz="1600" kern="0"/>
              <a:t>】</a:t>
            </a: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XX</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市・</a:t>
            </a: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YY</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市における地域公共交通政策の</a:t>
            </a:r>
            <a:endPar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a:p>
            <a:pPr lvl="0" defTabSz="719255">
              <a:defRPr/>
            </a:pP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体制強化に向けた組織立ち上げ事業</a:t>
            </a:r>
            <a:endPar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p:txBody>
      </p:sp>
      <p:sp>
        <p:nvSpPr>
          <p:cNvPr id="43" name="テキスト ボックス 42">
            <a:extLst>
              <a:ext uri="{FF2B5EF4-FFF2-40B4-BE49-F238E27FC236}">
                <a16:creationId xmlns:a16="http://schemas.microsoft.com/office/drawing/2014/main" id="{7E4F710C-B3C2-CEE6-8ADC-66D55BF1A00B}"/>
              </a:ext>
            </a:extLst>
          </p:cNvPr>
          <p:cNvSpPr txBox="1"/>
          <p:nvPr/>
        </p:nvSpPr>
        <p:spPr>
          <a:xfrm>
            <a:off x="107305" y="2012965"/>
            <a:ext cx="1381064"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事業背景・目的</a:t>
            </a:r>
          </a:p>
        </p:txBody>
      </p:sp>
      <p:sp>
        <p:nvSpPr>
          <p:cNvPr id="44" name="テキスト ボックス 43">
            <a:extLst>
              <a:ext uri="{FF2B5EF4-FFF2-40B4-BE49-F238E27FC236}">
                <a16:creationId xmlns:a16="http://schemas.microsoft.com/office/drawing/2014/main" id="{CDC0666C-6DDD-F8C5-B05D-7B52B954F732}"/>
              </a:ext>
            </a:extLst>
          </p:cNvPr>
          <p:cNvSpPr txBox="1"/>
          <p:nvPr/>
        </p:nvSpPr>
        <p:spPr>
          <a:xfrm>
            <a:off x="4394986" y="660512"/>
            <a:ext cx="929005"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事業概要</a:t>
            </a:r>
          </a:p>
        </p:txBody>
      </p:sp>
      <p:sp>
        <p:nvSpPr>
          <p:cNvPr id="45" name="テキスト ボックス 44">
            <a:extLst>
              <a:ext uri="{FF2B5EF4-FFF2-40B4-BE49-F238E27FC236}">
                <a16:creationId xmlns:a16="http://schemas.microsoft.com/office/drawing/2014/main" id="{B43F5D0E-974D-7F02-7CE5-926E15911FEE}"/>
              </a:ext>
            </a:extLst>
          </p:cNvPr>
          <p:cNvSpPr txBox="1"/>
          <p:nvPr/>
        </p:nvSpPr>
        <p:spPr>
          <a:xfrm>
            <a:off x="114853" y="1319887"/>
            <a:ext cx="1286292"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事業実施地域</a:t>
            </a:r>
          </a:p>
        </p:txBody>
      </p:sp>
      <p:sp>
        <p:nvSpPr>
          <p:cNvPr id="52" name="テキスト ボックス 51">
            <a:extLst>
              <a:ext uri="{FF2B5EF4-FFF2-40B4-BE49-F238E27FC236}">
                <a16:creationId xmlns:a16="http://schemas.microsoft.com/office/drawing/2014/main" id="{CF262509-766B-73DE-D818-463E3823C7AF}"/>
              </a:ext>
            </a:extLst>
          </p:cNvPr>
          <p:cNvSpPr txBox="1"/>
          <p:nvPr/>
        </p:nvSpPr>
        <p:spPr>
          <a:xfrm>
            <a:off x="4394986" y="4275089"/>
            <a:ext cx="1719177" cy="340519"/>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p>
            <a:r>
              <a:rPr lang="ja-JP" altLang="en-US" sz="1400" b="1">
                <a:solidFill>
                  <a:schemeClr val="bg1"/>
                </a:solidFill>
                <a:latin typeface="Meiryo UI" panose="020B0604030504040204" pitchFamily="50" charset="-128"/>
                <a:ea typeface="Meiryo UI" panose="020B0604030504040204" pitchFamily="50" charset="-128"/>
              </a:rPr>
              <a:t>見込まれる事業効果</a:t>
            </a:r>
          </a:p>
        </p:txBody>
      </p:sp>
      <p:sp>
        <p:nvSpPr>
          <p:cNvPr id="6" name="テキスト ボックス 5">
            <a:extLst>
              <a:ext uri="{FF2B5EF4-FFF2-40B4-BE49-F238E27FC236}">
                <a16:creationId xmlns:a16="http://schemas.microsoft.com/office/drawing/2014/main" id="{5C45E698-AE6F-513C-47E8-88398475EEB5}"/>
              </a:ext>
            </a:extLst>
          </p:cNvPr>
          <p:cNvSpPr txBox="1"/>
          <p:nvPr/>
        </p:nvSpPr>
        <p:spPr>
          <a:xfrm>
            <a:off x="80961" y="2353484"/>
            <a:ext cx="4149401" cy="1222624"/>
          </a:xfrm>
          <a:prstGeom prst="rect">
            <a:avLst/>
          </a:prstGeom>
          <a:noFill/>
        </p:spPr>
        <p:txBody>
          <a:bodyPr wrap="square" lIns="72000" tIns="72000" rIns="72000" bIns="72000">
            <a:noAutofit/>
          </a:bodyPr>
          <a:lstStyle/>
          <a:p>
            <a:pPr marL="285750" indent="-285750">
              <a:buFont typeface="Wingdings" panose="05000000000000000000" pitchFamily="2" charset="2"/>
              <a:buChar char="Ø"/>
            </a:pPr>
            <a:r>
              <a:rPr lang="ja-JP" altLang="en-US" sz="1400" dirty="0">
                <a:latin typeface="Meiryo UI" panose="020B0604030504040204" pitchFamily="50" charset="-128"/>
                <a:ea typeface="Meiryo UI" panose="020B0604030504040204" pitchFamily="50" charset="-128"/>
                <a:sym typeface="+mj-lt"/>
              </a:rPr>
              <a:t>交通施策の検討にかかるリソースが圧倒的に不足。</a:t>
            </a:r>
          </a:p>
          <a:p>
            <a:pPr marL="285750" indent="-285750">
              <a:buFont typeface="Wingdings" panose="05000000000000000000" pitchFamily="2" charset="2"/>
              <a:buChar char="Ø"/>
            </a:pPr>
            <a:r>
              <a:rPr lang="ja-JP" altLang="en-US" sz="1400" dirty="0">
                <a:latin typeface="Meiryo UI" panose="020B0604030504040204" pitchFamily="50" charset="-128"/>
                <a:ea typeface="Meiryo UI" panose="020B0604030504040204" pitchFamily="50" charset="-128"/>
                <a:sym typeface="+mj-lt"/>
              </a:rPr>
              <a:t>新たな交通施策の検討や導入に向けたノウハウの提供を行う組織を立ち上げ、</a:t>
            </a:r>
            <a:r>
              <a:rPr lang="en-US" altLang="ja-JP" sz="1400" dirty="0">
                <a:latin typeface="Meiryo UI" panose="020B0604030504040204" pitchFamily="50" charset="-128"/>
                <a:ea typeface="Meiryo UI" panose="020B0604030504040204" pitchFamily="50" charset="-128"/>
                <a:sym typeface="+mj-lt"/>
              </a:rPr>
              <a:t>XX</a:t>
            </a:r>
            <a:r>
              <a:rPr lang="ja-JP" altLang="en-US" sz="1400" dirty="0">
                <a:latin typeface="Meiryo UI" panose="020B0604030504040204" pitchFamily="50" charset="-128"/>
                <a:ea typeface="Meiryo UI" panose="020B0604030504040204" pitchFamily="50" charset="-128"/>
                <a:sym typeface="+mj-lt"/>
              </a:rPr>
              <a:t>市の検討を支援することで、地域の実情を踏まえ、当該地域における持続的な公共交通の維持・確保を目指す。</a:t>
            </a:r>
          </a:p>
        </p:txBody>
      </p:sp>
      <p:sp>
        <p:nvSpPr>
          <p:cNvPr id="9" name="テキスト ボックス 8">
            <a:extLst>
              <a:ext uri="{FF2B5EF4-FFF2-40B4-BE49-F238E27FC236}">
                <a16:creationId xmlns:a16="http://schemas.microsoft.com/office/drawing/2014/main" id="{B2901DAA-3107-4575-877D-27EEE0DDA0FE}"/>
              </a:ext>
            </a:extLst>
          </p:cNvPr>
          <p:cNvSpPr txBox="1"/>
          <p:nvPr/>
        </p:nvSpPr>
        <p:spPr>
          <a:xfrm>
            <a:off x="80960" y="1691638"/>
            <a:ext cx="1617211" cy="338464"/>
          </a:xfrm>
          <a:prstGeom prst="rect">
            <a:avLst/>
          </a:prstGeom>
          <a:noFill/>
          <a:ln>
            <a:noFill/>
          </a:ln>
        </p:spPr>
        <p:txBody>
          <a:bodyPr wrap="square" rtlCol="0">
            <a:noAutofit/>
          </a:bodyPr>
          <a:lstStyle/>
          <a:p>
            <a:pPr>
              <a:defRPr/>
            </a:pPr>
            <a:r>
              <a:rPr lang="ja-JP" altLang="en-US" sz="1400" dirty="0">
                <a:latin typeface="Meiryo UI" panose="020B0604030504040204" pitchFamily="50" charset="-128"/>
                <a:ea typeface="Meiryo UI" panose="020B0604030504040204" pitchFamily="50" charset="-128"/>
              </a:rPr>
              <a:t>●県</a:t>
            </a:r>
            <a:r>
              <a:rPr lang="en-US" altLang="ja-JP" sz="1400" dirty="0">
                <a:latin typeface="Meiryo UI" panose="020B0604030504040204" pitchFamily="50" charset="-128"/>
                <a:ea typeface="Meiryo UI" panose="020B0604030504040204" pitchFamily="50" charset="-128"/>
              </a:rPr>
              <a:t>XX</a:t>
            </a:r>
            <a:r>
              <a:rPr lang="ja-JP" altLang="en-US" sz="1400" dirty="0">
                <a:latin typeface="Meiryo UI" panose="020B0604030504040204" pitchFamily="50" charset="-128"/>
                <a:ea typeface="Meiryo UI" panose="020B0604030504040204" pitchFamily="50" charset="-128"/>
              </a:rPr>
              <a:t>市</a:t>
            </a:r>
          </a:p>
        </p:txBody>
      </p:sp>
      <p:sp>
        <p:nvSpPr>
          <p:cNvPr id="10" name="テキスト ボックス 9">
            <a:extLst>
              <a:ext uri="{FF2B5EF4-FFF2-40B4-BE49-F238E27FC236}">
                <a16:creationId xmlns:a16="http://schemas.microsoft.com/office/drawing/2014/main" id="{6EF118C2-C194-179C-F664-B75E0BA0EEC1}"/>
              </a:ext>
            </a:extLst>
          </p:cNvPr>
          <p:cNvSpPr txBox="1"/>
          <p:nvPr/>
        </p:nvSpPr>
        <p:spPr>
          <a:xfrm>
            <a:off x="-31183" y="3792394"/>
            <a:ext cx="4491039" cy="2828867"/>
          </a:xfrm>
          <a:prstGeom prst="rect">
            <a:avLst/>
          </a:prstGeom>
          <a:noFill/>
        </p:spPr>
        <p:txBody>
          <a:bodyPr wrap="square" lIns="72000" tIns="72000" rIns="72000" bIns="72000">
            <a:noAutofit/>
          </a:bodyPr>
          <a:lstStyle/>
          <a:p>
            <a:r>
              <a:rPr lang="ja-JP" altLang="en-US" sz="1400" spc="-100" dirty="0">
                <a:latin typeface="Meiryo UI" panose="020B0604030504040204" pitchFamily="50" charset="-128"/>
                <a:ea typeface="Meiryo UI" panose="020B0604030504040204" pitchFamily="50" charset="-128"/>
                <a:sym typeface="+mj-lt"/>
              </a:rPr>
              <a:t>６月～７月：事業検討</a:t>
            </a:r>
          </a:p>
          <a:p>
            <a:r>
              <a:rPr lang="ja-JP" altLang="en-US" sz="1400" spc="-100" dirty="0">
                <a:latin typeface="Meiryo UI" panose="020B0604030504040204" pitchFamily="50" charset="-128"/>
                <a:ea typeface="Meiryo UI" panose="020B0604030504040204" pitchFamily="50" charset="-128"/>
                <a:sym typeface="+mj-lt"/>
              </a:rPr>
              <a:t>先進事例等の勉強会を開催し、素案を作成する。</a:t>
            </a:r>
          </a:p>
          <a:p>
            <a:r>
              <a:rPr lang="ja-JP" altLang="en-US" sz="1400" spc="-100" dirty="0">
                <a:latin typeface="Meiryo UI" panose="020B0604030504040204" pitchFamily="50" charset="-128"/>
                <a:ea typeface="Meiryo UI" panose="020B0604030504040204" pitchFamily="50" charset="-128"/>
                <a:sym typeface="+mj-lt"/>
              </a:rPr>
              <a:t>７月～９月：導入に向けた現状整理・調査・分析</a:t>
            </a:r>
          </a:p>
          <a:p>
            <a:r>
              <a:rPr lang="ja-JP" altLang="en-US" sz="1400" spc="-100" dirty="0">
                <a:latin typeface="Meiryo UI" panose="020B0604030504040204" pitchFamily="50" charset="-128"/>
                <a:ea typeface="Meiryo UI" panose="020B0604030504040204" pitchFamily="50" charset="-128"/>
                <a:sym typeface="+mj-lt"/>
              </a:rPr>
              <a:t>現状の業務及び今後生じ得る業務の整理や現状の分析を行う。</a:t>
            </a:r>
          </a:p>
          <a:p>
            <a:r>
              <a:rPr lang="en-US" altLang="ja-JP" sz="1400" spc="-100" dirty="0">
                <a:latin typeface="Meiryo UI" panose="020B0604030504040204" pitchFamily="50" charset="-128"/>
                <a:ea typeface="Meiryo UI" panose="020B0604030504040204" pitchFamily="50" charset="-128"/>
                <a:sym typeface="+mj-lt"/>
              </a:rPr>
              <a:t>10</a:t>
            </a:r>
            <a:r>
              <a:rPr lang="ja-JP" altLang="en-US" sz="1400" spc="-100" dirty="0">
                <a:latin typeface="Meiryo UI" panose="020B0604030504040204" pitchFamily="50" charset="-128"/>
                <a:ea typeface="Meiryo UI" panose="020B0604030504040204" pitchFamily="50" charset="-128"/>
                <a:sym typeface="+mj-lt"/>
              </a:rPr>
              <a:t>月　　　　 ：組織立ち上げに係る実施計画作成</a:t>
            </a:r>
          </a:p>
          <a:p>
            <a:r>
              <a:rPr lang="ja-JP" altLang="en-US" sz="1400" spc="-100" dirty="0">
                <a:latin typeface="Meiryo UI" panose="020B0604030504040204" pitchFamily="50" charset="-128"/>
                <a:ea typeface="Meiryo UI" panose="020B0604030504040204" pitchFamily="50" charset="-128"/>
                <a:sym typeface="+mj-lt"/>
              </a:rPr>
              <a:t>現状の整理や調査・分析、関係者との調整を踏まえて、組織のあり方を整理し、当該組織の設計等も踏まえた実施計画を策定する。</a:t>
            </a:r>
          </a:p>
          <a:p>
            <a:r>
              <a:rPr lang="ja-JP" altLang="en-US" sz="1400" spc="-100" dirty="0">
                <a:latin typeface="Meiryo UI" panose="020B0604030504040204" pitchFamily="50" charset="-128"/>
                <a:ea typeface="Meiryo UI" panose="020B0604030504040204" pitchFamily="50" charset="-128"/>
                <a:sym typeface="+mj-lt"/>
              </a:rPr>
              <a:t>随時　　　　　：関係者・資金面の調整</a:t>
            </a:r>
          </a:p>
          <a:p>
            <a:r>
              <a:rPr lang="ja-JP" altLang="en-US" sz="1400" spc="-100" dirty="0">
                <a:latin typeface="Meiryo UI" panose="020B0604030504040204" pitchFamily="50" charset="-128"/>
                <a:ea typeface="Meiryo UI" panose="020B0604030504040204" pitchFamily="50" charset="-128"/>
                <a:sym typeface="+mj-lt"/>
              </a:rPr>
              <a:t>関係者との調整、支援メニューの検討等資金面の調整を行う。</a:t>
            </a:r>
          </a:p>
          <a:p>
            <a:r>
              <a:rPr lang="ja-JP" altLang="en-US" sz="1400" spc="-100" dirty="0">
                <a:latin typeface="Meiryo UI" panose="020B0604030504040204" pitchFamily="50" charset="-128"/>
                <a:ea typeface="Meiryo UI" panose="020B0604030504040204" pitchFamily="50" charset="-128"/>
                <a:sym typeface="+mj-lt"/>
              </a:rPr>
              <a:t>２月　　　 　：事務処理・組織立ち上げ</a:t>
            </a:r>
          </a:p>
          <a:p>
            <a:r>
              <a:rPr lang="ja-JP" altLang="en-US" sz="1400" spc="-100" dirty="0">
                <a:latin typeface="Meiryo UI" panose="020B0604030504040204" pitchFamily="50" charset="-128"/>
                <a:ea typeface="Meiryo UI" panose="020B0604030504040204" pitchFamily="50" charset="-128"/>
                <a:sym typeface="+mj-lt"/>
              </a:rPr>
              <a:t>組織を立ち上げるにあたっての事務手続（組織立ち上げ、補助金に係る申請等）を行い、２月下旬に新たな外部組織を立ち上げ、運営を開始。</a:t>
            </a:r>
          </a:p>
        </p:txBody>
      </p:sp>
      <p:sp>
        <p:nvSpPr>
          <p:cNvPr id="12" name="テキスト ボックス 11">
            <a:extLst>
              <a:ext uri="{FF2B5EF4-FFF2-40B4-BE49-F238E27FC236}">
                <a16:creationId xmlns:a16="http://schemas.microsoft.com/office/drawing/2014/main" id="{286735E9-D80D-03F0-71C2-51E0C84E54C5}"/>
              </a:ext>
            </a:extLst>
          </p:cNvPr>
          <p:cNvSpPr txBox="1"/>
          <p:nvPr/>
        </p:nvSpPr>
        <p:spPr>
          <a:xfrm>
            <a:off x="2039906" y="1658914"/>
            <a:ext cx="4306805" cy="538428"/>
          </a:xfrm>
          <a:prstGeom prst="rect">
            <a:avLst/>
          </a:prstGeom>
          <a:noFill/>
        </p:spPr>
        <p:txBody>
          <a:bodyPr wrap="square">
            <a:noAutofit/>
          </a:bodyPr>
          <a:lstStyle/>
          <a:p>
            <a:pPr lvl="0" fontAlgn="base">
              <a:spcBef>
                <a:spcPct val="0"/>
              </a:spcBef>
              <a:spcAft>
                <a:spcPct val="0"/>
              </a:spcAft>
              <a:defRPr/>
            </a:pPr>
            <a:r>
              <a:rPr lang="ja-JP" altLang="en-US" sz="1400" kern="0" dirty="0">
                <a:latin typeface="Meiryo UI" panose="020B0604030504040204" pitchFamily="50" charset="-128"/>
                <a:ea typeface="Meiryo UI" panose="020B0604030504040204" pitchFamily="50" charset="-128"/>
              </a:rPr>
              <a:t>事業全体費用：</a:t>
            </a:r>
            <a:r>
              <a:rPr lang="en-US" altLang="ja-JP" sz="1400" kern="0" dirty="0">
                <a:latin typeface="Meiryo UI" panose="020B0604030504040204" pitchFamily="50" charset="-128"/>
                <a:ea typeface="Meiryo UI" panose="020B0604030504040204" pitchFamily="50" charset="-128"/>
              </a:rPr>
              <a:t>1000</a:t>
            </a:r>
            <a:r>
              <a:rPr lang="ja-JP" altLang="en-US" sz="1400" kern="0" dirty="0">
                <a:latin typeface="Meiryo UI" panose="020B0604030504040204" pitchFamily="50" charset="-128"/>
                <a:ea typeface="Meiryo UI" panose="020B0604030504040204" pitchFamily="50" charset="-128"/>
              </a:rPr>
              <a:t>万円</a:t>
            </a:r>
            <a:endParaRPr lang="en-US" altLang="ja-JP" sz="1400" kern="0" dirty="0">
              <a:latin typeface="Meiryo UI" panose="020B0604030504040204" pitchFamily="50" charset="-128"/>
              <a:ea typeface="Meiryo UI" panose="020B0604030504040204" pitchFamily="50" charset="-128"/>
            </a:endParaRPr>
          </a:p>
          <a:p>
            <a:pPr lvl="0" fontAlgn="base">
              <a:spcBef>
                <a:spcPct val="0"/>
              </a:spcBef>
              <a:spcAft>
                <a:spcPct val="0"/>
              </a:spcAft>
              <a:defRPr/>
            </a:pPr>
            <a:r>
              <a:rPr lang="ja-JP" altLang="en-US" sz="1400" kern="0" dirty="0">
                <a:latin typeface="Meiryo UI" panose="020B0604030504040204" pitchFamily="50" charset="-128"/>
                <a:ea typeface="Meiryo UI" panose="020B0604030504040204" pitchFamily="50" charset="-128"/>
              </a:rPr>
              <a:t>補助対象経費：</a:t>
            </a:r>
            <a:r>
              <a:rPr lang="en-US" altLang="ja-JP" sz="1400" kern="0" dirty="0">
                <a:latin typeface="Meiryo UI" panose="020B0604030504040204" pitchFamily="50" charset="-128"/>
                <a:ea typeface="Meiryo UI" panose="020B0604030504040204" pitchFamily="50" charset="-128"/>
              </a:rPr>
              <a:t>1000</a:t>
            </a:r>
            <a:r>
              <a:rPr lang="ja-JP" altLang="en-US" sz="1400" kern="0" dirty="0">
                <a:latin typeface="Meiryo UI" panose="020B0604030504040204" pitchFamily="50" charset="-128"/>
                <a:ea typeface="Meiryo UI" panose="020B0604030504040204" pitchFamily="50" charset="-128"/>
              </a:rPr>
              <a:t>万円</a:t>
            </a:r>
          </a:p>
        </p:txBody>
      </p:sp>
      <p:sp>
        <p:nvSpPr>
          <p:cNvPr id="13" name="テキスト ボックス 12">
            <a:extLst>
              <a:ext uri="{FF2B5EF4-FFF2-40B4-BE49-F238E27FC236}">
                <a16:creationId xmlns:a16="http://schemas.microsoft.com/office/drawing/2014/main" id="{ECA57F48-656B-47D0-373D-14C48A32D6C4}"/>
              </a:ext>
            </a:extLst>
          </p:cNvPr>
          <p:cNvSpPr txBox="1"/>
          <p:nvPr/>
        </p:nvSpPr>
        <p:spPr>
          <a:xfrm>
            <a:off x="4321098" y="4650808"/>
            <a:ext cx="4857299" cy="2119979"/>
          </a:xfrm>
          <a:prstGeom prst="rect">
            <a:avLst/>
          </a:prstGeom>
          <a:noFill/>
        </p:spPr>
        <p:txBody>
          <a:bodyPr wrap="square">
            <a:noAutofit/>
          </a:bodyPr>
          <a:lstStyle/>
          <a:p>
            <a:pPr lvl="0" defTabSz="906146">
              <a:defRPr/>
            </a:pPr>
            <a:r>
              <a:rPr lang="ja-JP" altLang="en-US" sz="1400" spc="-150" dirty="0">
                <a:latin typeface="Meiryo UI" panose="020B0604030504040204" pitchFamily="50" charset="-128"/>
                <a:ea typeface="Meiryo UI" panose="020B0604030504040204" pitchFamily="50" charset="-128"/>
              </a:rPr>
              <a:t>①地方公共団体の業務効率化、負担低減</a:t>
            </a:r>
            <a:endParaRPr lang="en-US" altLang="ja-JP" sz="1400" spc="-150" dirty="0">
              <a:latin typeface="Meiryo UI" panose="020B0604030504040204" pitchFamily="50" charset="-128"/>
              <a:ea typeface="Meiryo UI" panose="020B0604030504040204" pitchFamily="50" charset="-128"/>
            </a:endParaRPr>
          </a:p>
          <a:p>
            <a:pPr lvl="0" defTabSz="906146">
              <a:defRPr/>
            </a:pPr>
            <a:r>
              <a:rPr lang="ja-JP" altLang="en-US" sz="1400" spc="-150" dirty="0">
                <a:latin typeface="Meiryo UI" panose="020B0604030504040204" pitchFamily="50" charset="-128"/>
                <a:ea typeface="Meiryo UI" panose="020B0604030504040204" pitchFamily="50" charset="-128"/>
              </a:rPr>
              <a:t>　地域公共交通の</a:t>
            </a:r>
            <a:r>
              <a:rPr lang="en-US" altLang="ja-JP" sz="1400" spc="-150" dirty="0">
                <a:latin typeface="Meiryo UI" panose="020B0604030504040204" pitchFamily="50" charset="-128"/>
                <a:ea typeface="Meiryo UI" panose="020B0604030504040204" pitchFamily="50" charset="-128"/>
              </a:rPr>
              <a:t>PDCA</a:t>
            </a:r>
            <a:r>
              <a:rPr lang="ja-JP" altLang="en-US" sz="1400" spc="-150" dirty="0">
                <a:latin typeface="Meiryo UI" panose="020B0604030504040204" pitchFamily="50" charset="-128"/>
                <a:ea typeface="Meiryo UI" panose="020B0604030504040204" pitchFamily="50" charset="-128"/>
              </a:rPr>
              <a:t>サイクルの迅速化や資料作成及び関係者との調整等の職員の負担となっていた業務の効率化により、交通政策担当者の業務時間を減少させることができる。（定量的な内容も含む）</a:t>
            </a:r>
            <a:endParaRPr lang="en-US" altLang="ja-JP" sz="1400" spc="-150" dirty="0">
              <a:latin typeface="Meiryo UI" panose="020B0604030504040204" pitchFamily="50" charset="-128"/>
              <a:ea typeface="Meiryo UI" panose="020B0604030504040204" pitchFamily="50" charset="-128"/>
            </a:endParaRPr>
          </a:p>
          <a:p>
            <a:pPr lvl="0" defTabSz="906146">
              <a:defRPr/>
            </a:pPr>
            <a:r>
              <a:rPr lang="ja-JP" altLang="en-US" sz="1400" spc="-150" dirty="0">
                <a:latin typeface="Meiryo UI" panose="020B0604030504040204" pitchFamily="50" charset="-128"/>
                <a:ea typeface="Meiryo UI" panose="020B0604030504040204" pitchFamily="50" charset="-128"/>
              </a:rPr>
              <a:t>②効率化による地域公共交通業務の拡大</a:t>
            </a:r>
            <a:endParaRPr lang="en-US" altLang="ja-JP" sz="1400" spc="-150" dirty="0">
              <a:latin typeface="Meiryo UI" panose="020B0604030504040204" pitchFamily="50" charset="-128"/>
              <a:ea typeface="Meiryo UI" panose="020B0604030504040204" pitchFamily="50" charset="-128"/>
            </a:endParaRPr>
          </a:p>
          <a:p>
            <a:pPr lvl="0" defTabSz="906146">
              <a:defRPr/>
            </a:pPr>
            <a:r>
              <a:rPr lang="ja-JP" altLang="en-US" sz="1400" spc="-150" dirty="0">
                <a:latin typeface="Meiryo UI" panose="020B0604030504040204" pitchFamily="50" charset="-128"/>
                <a:ea typeface="Meiryo UI" panose="020B0604030504040204" pitchFamily="50" charset="-128"/>
              </a:rPr>
              <a:t>　体制不足で検討・実施ができていなかった新たな運送サービスの実証運行や他分野との連携、緊急時の対応等の迅速な施策運営が可能となる。</a:t>
            </a:r>
            <a:endParaRPr lang="en-US" altLang="ja-JP" sz="1400" spc="-150" dirty="0">
              <a:latin typeface="Meiryo UI" panose="020B0604030504040204" pitchFamily="50" charset="-128"/>
              <a:ea typeface="Meiryo UI" panose="020B0604030504040204" pitchFamily="50" charset="-128"/>
            </a:endParaRPr>
          </a:p>
          <a:p>
            <a:pPr lvl="0" defTabSz="906146">
              <a:defRPr/>
            </a:pPr>
            <a:r>
              <a:rPr lang="ja-JP" altLang="en-US" sz="1400" spc="-150" dirty="0">
                <a:latin typeface="Meiryo UI" panose="020B0604030504040204" pitchFamily="50" charset="-128"/>
                <a:ea typeface="Meiryo UI" panose="020B0604030504040204" pitchFamily="50" charset="-128"/>
              </a:rPr>
              <a:t>③地域のネットワーク再編・結節強化により、利用者の待ち時間短縮や実車率の改善につながり、利便性の向上を見込むことができる。</a:t>
            </a:r>
            <a:endParaRPr lang="en-US" altLang="ja-JP" sz="1400" spc="-150" dirty="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FC8359A7-C5EF-16D4-31EC-6F401233D3D1}"/>
              </a:ext>
            </a:extLst>
          </p:cNvPr>
          <p:cNvSpPr txBox="1"/>
          <p:nvPr/>
        </p:nvSpPr>
        <p:spPr>
          <a:xfrm>
            <a:off x="80961" y="705121"/>
            <a:ext cx="1260000" cy="323493"/>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r>
              <a:rPr lang="ja-JP" altLang="en-US" sz="1400" b="1">
                <a:solidFill>
                  <a:schemeClr val="bg1"/>
                </a:solidFill>
                <a:latin typeface="Meiryo UI" panose="020B0604030504040204" pitchFamily="50" charset="-128"/>
                <a:ea typeface="Meiryo UI" panose="020B0604030504040204" pitchFamily="50" charset="-128"/>
              </a:rPr>
              <a:t>事業主体</a:t>
            </a:r>
          </a:p>
        </p:txBody>
      </p:sp>
      <p:sp>
        <p:nvSpPr>
          <p:cNvPr id="18" name="テキスト ボックス 17">
            <a:extLst>
              <a:ext uri="{FF2B5EF4-FFF2-40B4-BE49-F238E27FC236}">
                <a16:creationId xmlns:a16="http://schemas.microsoft.com/office/drawing/2014/main" id="{6E784905-C564-1B53-57BE-422DDEA0D3B7}"/>
              </a:ext>
            </a:extLst>
          </p:cNvPr>
          <p:cNvSpPr txBox="1"/>
          <p:nvPr/>
        </p:nvSpPr>
        <p:spPr>
          <a:xfrm>
            <a:off x="1401145" y="730802"/>
            <a:ext cx="4378896" cy="338464"/>
          </a:xfrm>
          <a:prstGeom prst="rect">
            <a:avLst/>
          </a:prstGeom>
          <a:noFill/>
          <a:ln>
            <a:noFill/>
          </a:ln>
        </p:spPr>
        <p:txBody>
          <a:bodyPr wrap="square" rtlCol="0">
            <a:noAutofit/>
          </a:bodyPr>
          <a:lstStyle/>
          <a:p>
            <a:pPr>
              <a:defRPr/>
            </a:pPr>
            <a:r>
              <a:rPr lang="en-US" altLang="ja-JP" sz="1400" dirty="0">
                <a:solidFill>
                  <a:prstClr val="black"/>
                </a:solidFill>
                <a:latin typeface="HGP創英角ｺﾞｼｯｸUB"/>
                <a:ea typeface="Meiryo UI" panose="020B0604030504040204" pitchFamily="50" charset="-128"/>
              </a:rPr>
              <a:t>XX</a:t>
            </a:r>
            <a:r>
              <a:rPr lang="ja-JP" altLang="en-US" sz="1400" dirty="0">
                <a:solidFill>
                  <a:prstClr val="black"/>
                </a:solidFill>
                <a:latin typeface="HGP創英角ｺﾞｼｯｸUB"/>
                <a:ea typeface="Meiryo UI" panose="020B0604030504040204" pitchFamily="50" charset="-128"/>
              </a:rPr>
              <a:t>市地域公共交通協議会</a:t>
            </a:r>
            <a:endParaRPr lang="en-US" altLang="ja-JP" sz="1400" dirty="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246DA7F3-FCE0-9730-3E87-5199F6F4B391}"/>
              </a:ext>
            </a:extLst>
          </p:cNvPr>
          <p:cNvSpPr txBox="1"/>
          <p:nvPr/>
        </p:nvSpPr>
        <p:spPr>
          <a:xfrm>
            <a:off x="4153923" y="1015576"/>
            <a:ext cx="5024474" cy="3224313"/>
          </a:xfrm>
          <a:prstGeom prst="rect">
            <a:avLst/>
          </a:prstGeom>
          <a:noFill/>
        </p:spPr>
        <p:txBody>
          <a:bodyPr wrap="square">
            <a:noAutofit/>
          </a:bodyPr>
          <a:lstStyle/>
          <a:p>
            <a:pPr lvl="0" defTabSz="906146">
              <a:lnSpc>
                <a:spcPts val="1600"/>
              </a:lnSpc>
              <a:defRPr/>
            </a:pPr>
            <a:r>
              <a:rPr lang="ja-JP" altLang="en-US" sz="1400" spc="-150" dirty="0">
                <a:latin typeface="Meiryo UI" panose="020B0604030504040204" pitchFamily="50" charset="-128"/>
                <a:ea typeface="Meiryo UI" panose="020B0604030504040204" pitchFamily="50" charset="-128"/>
              </a:rPr>
              <a:t>・事業検討</a:t>
            </a:r>
          </a:p>
          <a:p>
            <a:pPr lvl="0" defTabSz="906146">
              <a:lnSpc>
                <a:spcPts val="1600"/>
              </a:lnSpc>
              <a:defRPr/>
            </a:pPr>
            <a:r>
              <a:rPr lang="ja-JP" altLang="en-US" sz="1400" spc="-150" dirty="0">
                <a:latin typeface="Meiryo UI" panose="020B0604030504040204" pitchFamily="50" charset="-128"/>
                <a:ea typeface="Meiryo UI" panose="020B0604030504040204" pitchFamily="50" charset="-128"/>
              </a:rPr>
              <a:t>　先進事例を学ぶ勉強会等を開催し、組織立ち上げに向けて素案を作成する。</a:t>
            </a:r>
          </a:p>
          <a:p>
            <a:pPr lvl="0" defTabSz="906146">
              <a:lnSpc>
                <a:spcPts val="1600"/>
              </a:lnSpc>
              <a:defRPr/>
            </a:pPr>
            <a:r>
              <a:rPr lang="ja-JP" altLang="en-US" sz="1400" spc="-150" dirty="0">
                <a:latin typeface="Meiryo UI" panose="020B0604030504040204" pitchFamily="50" charset="-128"/>
                <a:ea typeface="Meiryo UI" panose="020B0604030504040204" pitchFamily="50" charset="-128"/>
              </a:rPr>
              <a:t>・組織の立ち上げに向けた現状整理・調査・分析</a:t>
            </a:r>
          </a:p>
          <a:p>
            <a:pPr lvl="0" defTabSz="906146">
              <a:lnSpc>
                <a:spcPts val="1600"/>
              </a:lnSpc>
              <a:defRPr/>
            </a:pPr>
            <a:r>
              <a:rPr lang="ja-JP" altLang="en-US" sz="1400" spc="-150" dirty="0">
                <a:latin typeface="Meiryo UI" panose="020B0604030504040204" pitchFamily="50" charset="-128"/>
                <a:ea typeface="Meiryo UI" panose="020B0604030504040204" pitchFamily="50" charset="-128"/>
              </a:rPr>
              <a:t>　現状の業務、今後発生が見込まれる業務、新たな組織が行う予定の具体的な業務等を整理する。また、現状の地域の公共交通の調査・分析を通じて組織の方向性を検討する。</a:t>
            </a:r>
          </a:p>
          <a:p>
            <a:pPr lvl="0" defTabSz="906146">
              <a:lnSpc>
                <a:spcPts val="1600"/>
              </a:lnSpc>
              <a:defRPr/>
            </a:pPr>
            <a:r>
              <a:rPr lang="ja-JP" altLang="en-US" sz="1400" spc="-150" dirty="0">
                <a:latin typeface="Meiryo UI" panose="020B0604030504040204" pitchFamily="50" charset="-128"/>
                <a:ea typeface="Meiryo UI" panose="020B0604030504040204" pitchFamily="50" charset="-128"/>
              </a:rPr>
              <a:t>・</a:t>
            </a:r>
            <a:r>
              <a:rPr lang="ja-JP" altLang="en-US" sz="1400" spc="-100" dirty="0">
                <a:latin typeface="Meiryo UI" panose="020B0604030504040204" pitchFamily="50" charset="-128"/>
                <a:ea typeface="Meiryo UI" panose="020B0604030504040204" pitchFamily="50" charset="-128"/>
                <a:sym typeface="+mj-lt"/>
              </a:rPr>
              <a:t>組織立ち上げに係る</a:t>
            </a:r>
            <a:r>
              <a:rPr lang="ja-JP" altLang="en-US" sz="1400" spc="-150" dirty="0">
                <a:latin typeface="Meiryo UI" panose="020B0604030504040204" pitchFamily="50" charset="-128"/>
                <a:ea typeface="Meiryo UI" panose="020B0604030504040204" pitchFamily="50" charset="-128"/>
              </a:rPr>
              <a:t>実施計画作成</a:t>
            </a:r>
          </a:p>
          <a:p>
            <a:pPr lvl="0" defTabSz="906146">
              <a:lnSpc>
                <a:spcPts val="1600"/>
              </a:lnSpc>
              <a:defRPr/>
            </a:pPr>
            <a:r>
              <a:rPr lang="ja-JP" altLang="en-US" sz="1400" spc="-150" dirty="0">
                <a:latin typeface="Meiryo UI" panose="020B0604030504040204" pitchFamily="50" charset="-128"/>
                <a:ea typeface="Meiryo UI" panose="020B0604030504040204" pitchFamily="50" charset="-128"/>
              </a:rPr>
              <a:t>　現状整理や調査・分析、関係者との調整を踏まえて、新たな組織の在り方を整理し、ガバナンスや機動性、移行に係る事務作業も加味しつつ総合的な組織形態・設計等を踏まえた実施計画・定款を策定する。</a:t>
            </a:r>
          </a:p>
          <a:p>
            <a:pPr lvl="0" defTabSz="906146">
              <a:lnSpc>
                <a:spcPts val="1600"/>
              </a:lnSpc>
              <a:defRPr/>
            </a:pPr>
            <a:r>
              <a:rPr lang="ja-JP" altLang="en-US" sz="1400" spc="-150" dirty="0">
                <a:latin typeface="Meiryo UI" panose="020B0604030504040204" pitchFamily="50" charset="-128"/>
                <a:ea typeface="Meiryo UI" panose="020B0604030504040204" pitchFamily="50" charset="-128"/>
              </a:rPr>
              <a:t>・関係者との調整</a:t>
            </a:r>
          </a:p>
          <a:p>
            <a:pPr lvl="0" defTabSz="906146">
              <a:lnSpc>
                <a:spcPts val="1600"/>
              </a:lnSpc>
              <a:defRPr/>
            </a:pPr>
            <a:r>
              <a:rPr lang="ja-JP" altLang="en-US" sz="1400" spc="-150" dirty="0">
                <a:latin typeface="Meiryo UI" panose="020B0604030504040204" pitchFamily="50" charset="-128"/>
                <a:ea typeface="Meiryo UI" panose="020B0604030504040204" pitchFamily="50" charset="-128"/>
              </a:rPr>
              <a:t>　地域の関係者と協議会等を通じて調整を行う。また、関係者との資金面の調整や財政支援メニューの検討を行う。</a:t>
            </a:r>
          </a:p>
          <a:p>
            <a:pPr lvl="0" defTabSz="906146">
              <a:lnSpc>
                <a:spcPts val="1600"/>
              </a:lnSpc>
              <a:defRPr/>
            </a:pPr>
            <a:r>
              <a:rPr lang="ja-JP" altLang="en-US" sz="1400" spc="-150" dirty="0">
                <a:latin typeface="Meiryo UI" panose="020B0604030504040204" pitchFamily="50" charset="-128"/>
                <a:ea typeface="Meiryo UI" panose="020B0604030504040204" pitchFamily="50" charset="-128"/>
              </a:rPr>
              <a:t>・事務処理</a:t>
            </a:r>
          </a:p>
          <a:p>
            <a:pPr lvl="0" defTabSz="906146">
              <a:lnSpc>
                <a:spcPts val="1600"/>
              </a:lnSpc>
              <a:defRPr/>
            </a:pPr>
            <a:r>
              <a:rPr lang="ja-JP" altLang="en-US" sz="1400" spc="-150" dirty="0">
                <a:latin typeface="Meiryo UI" panose="020B0604030504040204" pitchFamily="50" charset="-128"/>
                <a:ea typeface="Meiryo UI" panose="020B0604030504040204" pitchFamily="50" charset="-128"/>
              </a:rPr>
              <a:t>　組織を立ち上げるにあたっての法人登記・契約業務等を行う。</a:t>
            </a:r>
          </a:p>
        </p:txBody>
      </p:sp>
      <p:sp>
        <p:nvSpPr>
          <p:cNvPr id="2" name="テキスト ボックス 1">
            <a:extLst>
              <a:ext uri="{FF2B5EF4-FFF2-40B4-BE49-F238E27FC236}">
                <a16:creationId xmlns:a16="http://schemas.microsoft.com/office/drawing/2014/main" id="{41287A46-C62B-678F-715D-6ED0B5C496CE}"/>
              </a:ext>
            </a:extLst>
          </p:cNvPr>
          <p:cNvSpPr txBox="1"/>
          <p:nvPr/>
        </p:nvSpPr>
        <p:spPr>
          <a:xfrm>
            <a:off x="6634577" y="31647"/>
            <a:ext cx="2420646" cy="289441"/>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050" b="1">
                <a:solidFill>
                  <a:schemeClr val="bg1"/>
                </a:solidFill>
                <a:latin typeface="Meiryo UI" panose="020B0604030504040204" pitchFamily="50" charset="-128"/>
                <a:ea typeface="Meiryo UI" panose="020B0604030504040204" pitchFamily="50" charset="-128"/>
              </a:rPr>
              <a:t>モビリティ人材・組織育成タイプ</a:t>
            </a:r>
          </a:p>
        </p:txBody>
      </p:sp>
      <p:sp>
        <p:nvSpPr>
          <p:cNvPr id="11" name="テキスト ボックス 10">
            <a:extLst>
              <a:ext uri="{FF2B5EF4-FFF2-40B4-BE49-F238E27FC236}">
                <a16:creationId xmlns:a16="http://schemas.microsoft.com/office/drawing/2014/main" id="{C29DEEF0-D9A7-D561-40FF-AACC78F216D2}"/>
              </a:ext>
            </a:extLst>
          </p:cNvPr>
          <p:cNvSpPr txBox="1"/>
          <p:nvPr/>
        </p:nvSpPr>
        <p:spPr>
          <a:xfrm>
            <a:off x="8253548" y="339874"/>
            <a:ext cx="766768" cy="205018"/>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ア</a:t>
            </a:r>
          </a:p>
        </p:txBody>
      </p:sp>
    </p:spTree>
    <p:extLst>
      <p:ext uri="{BB962C8B-B14F-4D97-AF65-F5344CB8AC3E}">
        <p14:creationId xmlns:p14="http://schemas.microsoft.com/office/powerpoint/2010/main" val="779528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2FA216-9B58-AE92-CAB2-3A10905E3137}"/>
            </a:ext>
          </a:extLst>
        </p:cNvPr>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22935F0-2B57-D5DA-4D03-B6DD2A6F91E9}"/>
              </a:ext>
            </a:extLst>
          </p:cNvPr>
          <p:cNvSpPr/>
          <p:nvPr/>
        </p:nvSpPr>
        <p:spPr>
          <a:xfrm>
            <a:off x="63878" y="1014673"/>
            <a:ext cx="9016243" cy="4673575"/>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defRPr/>
            </a:pPr>
            <a:endParaRPr lang="en-US" altLang="ja-JP" sz="1400" kern="0">
              <a:solidFill>
                <a:schemeClr val="tx1"/>
              </a:solidFill>
              <a:latin typeface="Meiryo UI" panose="020B0604030504040204" pitchFamily="50" charset="-128"/>
              <a:ea typeface="Meiryo UI" panose="020B0604030504040204" pitchFamily="50" charset="-128"/>
            </a:endParaRPr>
          </a:p>
        </p:txBody>
      </p:sp>
      <p:sp>
        <p:nvSpPr>
          <p:cNvPr id="27" name="四角形: 角を丸くする 26">
            <a:extLst>
              <a:ext uri="{FF2B5EF4-FFF2-40B4-BE49-F238E27FC236}">
                <a16:creationId xmlns:a16="http://schemas.microsoft.com/office/drawing/2014/main" id="{ACEB70F6-A0E8-B424-4231-E0249635591C}"/>
              </a:ext>
            </a:extLst>
          </p:cNvPr>
          <p:cNvSpPr/>
          <p:nvPr/>
        </p:nvSpPr>
        <p:spPr bwMode="auto">
          <a:xfrm>
            <a:off x="3525356" y="2482892"/>
            <a:ext cx="2294933" cy="923330"/>
          </a:xfrm>
          <a:prstGeom prst="roundRect">
            <a:avLst/>
          </a:prstGeom>
          <a:solidFill>
            <a:schemeClr val="bg1"/>
          </a:solidFill>
          <a:ln w="12700"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1" lang="ja-JP" altLang="en-US" sz="1600" b="0" i="0" u="none" strike="noStrike" cap="none" normalizeH="0" baseline="0">
              <a:ln>
                <a:noFill/>
              </a:ln>
              <a:effectLst/>
              <a:latin typeface="Meiryo UI" panose="020B0604030504040204" pitchFamily="50" charset="-128"/>
              <a:ea typeface="Meiryo UI" panose="020B0604030504040204" pitchFamily="50" charset="-128"/>
            </a:endParaRPr>
          </a:p>
        </p:txBody>
      </p:sp>
      <p:graphicFrame>
        <p:nvGraphicFramePr>
          <p:cNvPr id="4" name="think-cell data - do not delete" hidden="1">
            <a:extLst>
              <a:ext uri="{FF2B5EF4-FFF2-40B4-BE49-F238E27FC236}">
                <a16:creationId xmlns:a16="http://schemas.microsoft.com/office/drawing/2014/main" id="{83C2F13B-C2F9-7C09-3AF5-CE26DA4716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83C2F13B-C2F9-7C09-3AF5-CE26DA471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9EF29EB9-15E3-2128-9E82-BC70B44E771F}"/>
              </a:ext>
            </a:extLst>
          </p:cNvPr>
          <p:cNvSpPr txBox="1"/>
          <p:nvPr/>
        </p:nvSpPr>
        <p:spPr>
          <a:xfrm>
            <a:off x="80962" y="592697"/>
            <a:ext cx="1207859" cy="323493"/>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defRPr sz="1300" b="1">
                <a:solidFill>
                  <a:schemeClr val="bg1"/>
                </a:solidFill>
                <a:latin typeface="Meiryo UI" panose="020B0604030504040204" pitchFamily="50" charset="-128"/>
                <a:ea typeface="Meiryo UI" panose="020B0604030504040204" pitchFamily="50" charset="-128"/>
              </a:defRPr>
            </a:lvl1pPr>
          </a:lstStyle>
          <a:p>
            <a:pPr algn="ctr"/>
            <a:r>
              <a:rPr lang="ja-JP" altLang="en-US" sz="1400"/>
              <a:t>事業実施体制</a:t>
            </a:r>
          </a:p>
        </p:txBody>
      </p:sp>
      <p:cxnSp>
        <p:nvCxnSpPr>
          <p:cNvPr id="6" name="直線矢印コネクタ 5">
            <a:extLst>
              <a:ext uri="{FF2B5EF4-FFF2-40B4-BE49-F238E27FC236}">
                <a16:creationId xmlns:a16="http://schemas.microsoft.com/office/drawing/2014/main" id="{BA671051-B2F6-92FB-897B-161AD0F0F8AD}"/>
              </a:ext>
            </a:extLst>
          </p:cNvPr>
          <p:cNvCxnSpPr>
            <a:cxnSpLocks/>
          </p:cNvCxnSpPr>
          <p:nvPr/>
        </p:nvCxnSpPr>
        <p:spPr bwMode="auto">
          <a:xfrm flipH="1" flipV="1">
            <a:off x="4707888" y="3391157"/>
            <a:ext cx="1" cy="642682"/>
          </a:xfrm>
          <a:prstGeom prst="straightConnector1">
            <a:avLst/>
          </a:prstGeom>
          <a:solidFill>
            <a:schemeClr val="bg1"/>
          </a:solidFill>
          <a:ln w="12700" cap="flat" cmpd="sng" algn="ctr">
            <a:solidFill>
              <a:schemeClr val="tx1"/>
            </a:solidFill>
            <a:prstDash val="solid"/>
            <a:round/>
            <a:headEnd type="triangle" w="med" len="med"/>
            <a:tailEnd type="none"/>
          </a:ln>
          <a:effectLst/>
        </p:spPr>
      </p:cxnSp>
      <p:sp>
        <p:nvSpPr>
          <p:cNvPr id="11" name="四角形: 角を丸くする 10">
            <a:extLst>
              <a:ext uri="{FF2B5EF4-FFF2-40B4-BE49-F238E27FC236}">
                <a16:creationId xmlns:a16="http://schemas.microsoft.com/office/drawing/2014/main" id="{0AE5BA20-E939-4738-3B4D-B5C7258C1A51}"/>
              </a:ext>
            </a:extLst>
          </p:cNvPr>
          <p:cNvSpPr/>
          <p:nvPr/>
        </p:nvSpPr>
        <p:spPr bwMode="auto">
          <a:xfrm>
            <a:off x="5768919" y="1201108"/>
            <a:ext cx="1800000" cy="623134"/>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hangingPunct="0"/>
            <a:r>
              <a:rPr lang="en-US" altLang="ja-JP">
                <a:latin typeface="Meiryo UI" panose="020B0604030504040204" pitchFamily="50" charset="-128"/>
                <a:ea typeface="Meiryo UI" panose="020B0604030504040204" pitchFamily="50" charset="-128"/>
              </a:rPr>
              <a:t>Z</a:t>
            </a:r>
            <a:r>
              <a:rPr lang="ja-JP" altLang="en-US">
                <a:latin typeface="Meiryo UI" panose="020B0604030504040204" pitchFamily="50" charset="-128"/>
                <a:ea typeface="Meiryo UI" panose="020B0604030504040204" pitchFamily="50" charset="-128"/>
              </a:rPr>
              <a:t>事業者</a:t>
            </a:r>
            <a:endParaRPr lang="ja-JP" altLang="en-US" sz="1600">
              <a:latin typeface="Meiryo UI" panose="020B0604030504040204" pitchFamily="50" charset="-128"/>
              <a:ea typeface="Meiryo UI" panose="020B0604030504040204" pitchFamily="50" charset="-128"/>
            </a:endParaRPr>
          </a:p>
        </p:txBody>
      </p:sp>
      <p:sp>
        <p:nvSpPr>
          <p:cNvPr id="17" name="四角形: 角を丸くする 16">
            <a:extLst>
              <a:ext uri="{FF2B5EF4-FFF2-40B4-BE49-F238E27FC236}">
                <a16:creationId xmlns:a16="http://schemas.microsoft.com/office/drawing/2014/main" id="{316AE0C3-08A2-DCF9-512B-A6ACA78EEB39}"/>
              </a:ext>
            </a:extLst>
          </p:cNvPr>
          <p:cNvSpPr/>
          <p:nvPr/>
        </p:nvSpPr>
        <p:spPr bwMode="auto">
          <a:xfrm>
            <a:off x="4457882" y="1198685"/>
            <a:ext cx="1046464" cy="374571"/>
          </a:xfrm>
          <a:prstGeom prst="round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i="0" u="none" strike="noStrike" cap="none" normalizeH="0" baseline="0">
                <a:ln>
                  <a:noFill/>
                </a:ln>
                <a:effectLst/>
                <a:latin typeface="Meiryo UI" panose="020B0604030504040204" pitchFamily="50" charset="-128"/>
                <a:ea typeface="Meiryo UI" panose="020B0604030504040204" pitchFamily="50" charset="-128"/>
              </a:rPr>
              <a:t>連携</a:t>
            </a:r>
          </a:p>
        </p:txBody>
      </p:sp>
      <p:sp>
        <p:nvSpPr>
          <p:cNvPr id="18" name="四角形: 角を丸くする 17">
            <a:extLst>
              <a:ext uri="{FF2B5EF4-FFF2-40B4-BE49-F238E27FC236}">
                <a16:creationId xmlns:a16="http://schemas.microsoft.com/office/drawing/2014/main" id="{3E1A8D5D-5890-6F5E-CDAC-93A2CAD372D8}"/>
              </a:ext>
            </a:extLst>
          </p:cNvPr>
          <p:cNvSpPr/>
          <p:nvPr/>
        </p:nvSpPr>
        <p:spPr bwMode="auto">
          <a:xfrm>
            <a:off x="1133309" y="1201106"/>
            <a:ext cx="3060000" cy="623136"/>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ja-JP" sz="1600" dirty="0">
                <a:latin typeface="Meiryo UI" panose="020B0604030504040204" pitchFamily="50" charset="-128"/>
                <a:ea typeface="Meiryo UI" panose="020B0604030504040204" pitchFamily="50" charset="-128"/>
              </a:rPr>
              <a:t>XX</a:t>
            </a:r>
            <a:r>
              <a:rPr lang="ja-JP" altLang="en-US" sz="1600" dirty="0">
                <a:latin typeface="Meiryo UI" panose="020B0604030504040204" pitchFamily="50" charset="-128"/>
                <a:ea typeface="Meiryo UI" panose="020B0604030504040204" pitchFamily="50" charset="-128"/>
              </a:rPr>
              <a:t>市地域公共交通協議会</a:t>
            </a:r>
            <a:endParaRPr lang="en-US" altLang="ja-JP" sz="1600" dirty="0">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lang="ja-JP" altLang="en-US" sz="1400" dirty="0">
                <a:latin typeface="Meiryo UI" panose="020B0604030504040204" pitchFamily="50" charset="-128"/>
                <a:ea typeface="Meiryo UI" panose="020B0604030504040204" pitchFamily="50" charset="-128"/>
              </a:rPr>
              <a:t>事業主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交付申請予定者</a:t>
            </a:r>
            <a:r>
              <a:rPr lang="en-US" altLang="ja-JP" sz="1400" dirty="0">
                <a:latin typeface="Meiryo UI" panose="020B0604030504040204" pitchFamily="50" charset="-128"/>
                <a:ea typeface="Meiryo UI" panose="020B0604030504040204" pitchFamily="50" charset="-128"/>
              </a:rPr>
              <a:t>)</a:t>
            </a:r>
            <a:endParaRPr lang="ja-JP" altLang="en-US" sz="1400" dirty="0">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AB6E7948-029C-35A9-71F7-8038D93B9862}"/>
              </a:ext>
            </a:extLst>
          </p:cNvPr>
          <p:cNvGrpSpPr/>
          <p:nvPr/>
        </p:nvGrpSpPr>
        <p:grpSpPr>
          <a:xfrm>
            <a:off x="3454648" y="4011640"/>
            <a:ext cx="2555628" cy="1465720"/>
            <a:chOff x="1871998" y="4627528"/>
            <a:chExt cx="3886542" cy="720000"/>
          </a:xfrm>
        </p:grpSpPr>
        <p:sp>
          <p:nvSpPr>
            <p:cNvPr id="20" name="四角形: 角を丸くする 19">
              <a:extLst>
                <a:ext uri="{FF2B5EF4-FFF2-40B4-BE49-F238E27FC236}">
                  <a16:creationId xmlns:a16="http://schemas.microsoft.com/office/drawing/2014/main" id="{2AB49C2F-6AEE-6352-4F29-DD39B645793B}"/>
                </a:ext>
              </a:extLst>
            </p:cNvPr>
            <p:cNvSpPr/>
            <p:nvPr/>
          </p:nvSpPr>
          <p:spPr bwMode="auto">
            <a:xfrm>
              <a:off x="1871998" y="4627528"/>
              <a:ext cx="1800000"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ja-JP" sz="1600">
                  <a:latin typeface="Meiryo UI" panose="020B0604030504040204" pitchFamily="50" charset="-128"/>
                  <a:ea typeface="Meiryo UI" panose="020B0604030504040204" pitchFamily="50" charset="-128"/>
                </a:rPr>
                <a:t>XX</a:t>
              </a:r>
              <a:r>
                <a:rPr lang="ja-JP" altLang="en-US" sz="1600">
                  <a:latin typeface="Meiryo UI" panose="020B0604030504040204" pitchFamily="50" charset="-128"/>
                  <a:ea typeface="Meiryo UI" panose="020B0604030504040204" pitchFamily="50" charset="-128"/>
                </a:rPr>
                <a:t>市</a:t>
              </a:r>
              <a:endParaRPr lang="en-US" altLang="ja-JP" sz="1600">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effectLst/>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公共交通担当者</a:t>
              </a:r>
              <a:r>
                <a:rPr kumimoji="1" lang="ja-JP" altLang="en-US" sz="1200" b="0" i="0" u="none" strike="noStrike" cap="none" normalizeH="0" baseline="0">
                  <a:ln>
                    <a:noFill/>
                  </a:ln>
                  <a:effectLst/>
                  <a:latin typeface="Meiryo UI" panose="020B0604030504040204" pitchFamily="50" charset="-128"/>
                  <a:ea typeface="Meiryo UI" panose="020B0604030504040204" pitchFamily="50" charset="-128"/>
                </a:rPr>
                <a:t>）</a:t>
              </a:r>
              <a:endParaRPr kumimoji="1" lang="en-US" altLang="ja-JP" sz="1200" b="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25" name="四角形: 角を丸くする 24">
              <a:extLst>
                <a:ext uri="{FF2B5EF4-FFF2-40B4-BE49-F238E27FC236}">
                  <a16:creationId xmlns:a16="http://schemas.microsoft.com/office/drawing/2014/main" id="{9E229D80-7D1F-B81D-4598-4309F25B46AB}"/>
                </a:ext>
              </a:extLst>
            </p:cNvPr>
            <p:cNvSpPr/>
            <p:nvPr/>
          </p:nvSpPr>
          <p:spPr bwMode="auto">
            <a:xfrm>
              <a:off x="3958539" y="4627528"/>
              <a:ext cx="1800001"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ja-JP" sz="1600" dirty="0">
                  <a:latin typeface="Meiryo UI" panose="020B0604030504040204" pitchFamily="50" charset="-128"/>
                  <a:ea typeface="Meiryo UI" panose="020B0604030504040204" pitchFamily="50" charset="-128"/>
                </a:rPr>
                <a:t>XX</a:t>
              </a:r>
              <a:r>
                <a:rPr lang="ja-JP" altLang="en-US" sz="1600" dirty="0">
                  <a:latin typeface="Meiryo UI" panose="020B0604030504040204" pitchFamily="50" charset="-128"/>
                  <a:ea typeface="Meiryo UI" panose="020B0604030504040204" pitchFamily="50" charset="-128"/>
                </a:rPr>
                <a:t>市の</a:t>
              </a:r>
              <a:endParaRPr lang="en-US" altLang="ja-JP" sz="1600" dirty="0">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lang="ja-JP" altLang="en-US" sz="1600" dirty="0">
                  <a:latin typeface="Meiryo UI" panose="020B0604030504040204" pitchFamily="50" charset="-128"/>
                  <a:ea typeface="Meiryo UI" panose="020B0604030504040204" pitchFamily="50" charset="-128"/>
                </a:rPr>
                <a:t>交通</a:t>
              </a:r>
              <a:endParaRPr lang="en-US" altLang="ja-JP" sz="1600" dirty="0">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lang="ja-JP" altLang="en-US" sz="1600" dirty="0">
                  <a:latin typeface="Meiryo UI" panose="020B0604030504040204" pitchFamily="50" charset="-128"/>
                  <a:ea typeface="Meiryo UI" panose="020B0604030504040204" pitchFamily="50" charset="-128"/>
                </a:rPr>
                <a:t>事業者</a:t>
              </a:r>
              <a:endParaRPr lang="en-US" altLang="ja-JP" sz="1600" dirty="0">
                <a:latin typeface="Meiryo UI" panose="020B0604030504040204" pitchFamily="50" charset="-128"/>
                <a:ea typeface="Meiryo UI" panose="020B0604030504040204" pitchFamily="50" charset="-128"/>
              </a:endParaRPr>
            </a:p>
          </p:txBody>
        </p:sp>
      </p:grpSp>
      <p:sp>
        <p:nvSpPr>
          <p:cNvPr id="28" name="四角形: 角を丸くする 27">
            <a:extLst>
              <a:ext uri="{FF2B5EF4-FFF2-40B4-BE49-F238E27FC236}">
                <a16:creationId xmlns:a16="http://schemas.microsoft.com/office/drawing/2014/main" id="{6352E770-6704-3EC8-6335-3F2B4AE9A27F}"/>
              </a:ext>
            </a:extLst>
          </p:cNvPr>
          <p:cNvSpPr/>
          <p:nvPr/>
        </p:nvSpPr>
        <p:spPr bwMode="auto">
          <a:xfrm>
            <a:off x="3692210" y="3468953"/>
            <a:ext cx="2160000" cy="374571"/>
          </a:xfrm>
          <a:prstGeom prst="round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dirty="0">
                <a:latin typeface="Meiryo UI" panose="020B0604030504040204" pitchFamily="50" charset="-128"/>
                <a:ea typeface="Meiryo UI" panose="020B0604030504040204" pitchFamily="50" charset="-128"/>
              </a:rPr>
              <a:t>体制支援・ノウハウ提供</a:t>
            </a:r>
            <a:endParaRPr kumimoji="1" lang="ja-JP" altLang="en-US" sz="1600" i="0" u="none" strike="noStrike" cap="none" normalizeH="0" baseline="0" dirty="0">
              <a:ln>
                <a:noFill/>
              </a:ln>
              <a:effectLst/>
              <a:latin typeface="Meiryo UI" panose="020B0604030504040204" pitchFamily="50" charset="-128"/>
              <a:ea typeface="Meiryo UI" panose="020B0604030504040204" pitchFamily="50" charset="-128"/>
            </a:endParaRPr>
          </a:p>
        </p:txBody>
      </p:sp>
      <p:sp>
        <p:nvSpPr>
          <p:cNvPr id="19" name="タイトル 1">
            <a:extLst>
              <a:ext uri="{FF2B5EF4-FFF2-40B4-BE49-F238E27FC236}">
                <a16:creationId xmlns:a16="http://schemas.microsoft.com/office/drawing/2014/main" id="{D4FB734F-255C-5975-75BD-7DD47198FFF3}"/>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lvl="0" defTabSz="719255">
              <a:defRPr/>
            </a:pP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lang="ja-JP" altLang="en-US" sz="1600" kern="0"/>
              <a:t>●県</a:t>
            </a:r>
            <a:r>
              <a:rPr lang="en-US" altLang="ja-JP" sz="1600" kern="0"/>
              <a:t>XX</a:t>
            </a:r>
            <a:r>
              <a:rPr lang="ja-JP" altLang="en-US" sz="1600" kern="0"/>
              <a:t>市、</a:t>
            </a:r>
            <a:r>
              <a:rPr lang="en-US" altLang="ja-JP" sz="1600" kern="0"/>
              <a:t>YY</a:t>
            </a:r>
            <a:r>
              <a:rPr lang="ja-JP" altLang="en-US" sz="1600" kern="0"/>
              <a:t>市</a:t>
            </a:r>
            <a:r>
              <a:rPr lang="en-US" altLang="ja-JP" sz="1600" kern="0"/>
              <a:t>】</a:t>
            </a: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XX</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市・</a:t>
            </a: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YY</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市における地域公共交通政策の</a:t>
            </a:r>
            <a:endPar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a:p>
            <a:pPr lvl="0" defTabSz="719255">
              <a:defRPr/>
            </a:pP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体制強化に向けた組織立ち上げ事業</a:t>
            </a:r>
            <a:endPar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p:txBody>
      </p:sp>
      <p:cxnSp>
        <p:nvCxnSpPr>
          <p:cNvPr id="23" name="直線矢印コネクタ 22">
            <a:extLst>
              <a:ext uri="{FF2B5EF4-FFF2-40B4-BE49-F238E27FC236}">
                <a16:creationId xmlns:a16="http://schemas.microsoft.com/office/drawing/2014/main" id="{955FF93F-FF13-C58C-8193-13183EF1B480}"/>
              </a:ext>
            </a:extLst>
          </p:cNvPr>
          <p:cNvCxnSpPr/>
          <p:nvPr/>
        </p:nvCxnSpPr>
        <p:spPr bwMode="auto">
          <a:xfrm>
            <a:off x="4193309" y="1544362"/>
            <a:ext cx="1575611" cy="0"/>
          </a:xfrm>
          <a:prstGeom prst="straightConnector1">
            <a:avLst/>
          </a:prstGeom>
          <a:solidFill>
            <a:schemeClr val="bg1"/>
          </a:solidFill>
          <a:ln w="12700" cap="flat" cmpd="sng" algn="ctr">
            <a:solidFill>
              <a:schemeClr val="tx1"/>
            </a:solidFill>
            <a:prstDash val="solid"/>
            <a:round/>
            <a:headEnd type="triangle"/>
            <a:tailEnd type="triangle"/>
          </a:ln>
          <a:effectLst/>
        </p:spPr>
      </p:cxnSp>
      <p:sp>
        <p:nvSpPr>
          <p:cNvPr id="24" name="テキスト ボックス 23">
            <a:extLst>
              <a:ext uri="{FF2B5EF4-FFF2-40B4-BE49-F238E27FC236}">
                <a16:creationId xmlns:a16="http://schemas.microsoft.com/office/drawing/2014/main" id="{166D1285-0C1D-C89A-09E4-63E03676FB1B}"/>
              </a:ext>
            </a:extLst>
          </p:cNvPr>
          <p:cNvSpPr txBox="1"/>
          <p:nvPr/>
        </p:nvSpPr>
        <p:spPr>
          <a:xfrm>
            <a:off x="3747255" y="2750516"/>
            <a:ext cx="1937657" cy="369332"/>
          </a:xfrm>
          <a:prstGeom prst="rect">
            <a:avLst/>
          </a:prstGeom>
          <a:noFill/>
        </p:spPr>
        <p:txBody>
          <a:bodyPr wrap="square" rtlCol="0">
            <a:spAutoFit/>
          </a:bodyPr>
          <a:lstStyle/>
          <a:p>
            <a:pPr algn="ctr"/>
            <a:r>
              <a:rPr kumimoji="1" lang="ja-JP" altLang="en-US" dirty="0">
                <a:latin typeface="Meiryo UI" panose="020B0604030504040204" pitchFamily="50" charset="-128"/>
                <a:ea typeface="Meiryo UI" panose="020B0604030504040204" pitchFamily="50" charset="-128"/>
              </a:rPr>
              <a:t>新たな組織</a:t>
            </a:r>
          </a:p>
        </p:txBody>
      </p:sp>
      <p:cxnSp>
        <p:nvCxnSpPr>
          <p:cNvPr id="26" name="直線矢印コネクタ 25">
            <a:extLst>
              <a:ext uri="{FF2B5EF4-FFF2-40B4-BE49-F238E27FC236}">
                <a16:creationId xmlns:a16="http://schemas.microsoft.com/office/drawing/2014/main" id="{47467E80-2AF7-FD87-862B-4BA190E2BE05}"/>
              </a:ext>
            </a:extLst>
          </p:cNvPr>
          <p:cNvCxnSpPr>
            <a:cxnSpLocks/>
          </p:cNvCxnSpPr>
          <p:nvPr/>
        </p:nvCxnSpPr>
        <p:spPr bwMode="auto">
          <a:xfrm flipH="1" flipV="1">
            <a:off x="2865730" y="1861003"/>
            <a:ext cx="1684909" cy="594602"/>
          </a:xfrm>
          <a:prstGeom prst="straightConnector1">
            <a:avLst/>
          </a:prstGeom>
          <a:solidFill>
            <a:schemeClr val="bg1"/>
          </a:solidFill>
          <a:ln w="12700" cap="flat" cmpd="sng" algn="ctr">
            <a:solidFill>
              <a:schemeClr val="tx1"/>
            </a:solidFill>
            <a:prstDash val="solid"/>
            <a:round/>
            <a:headEnd type="triangle" w="med" len="med"/>
            <a:tailEnd type="none"/>
          </a:ln>
          <a:effectLst/>
        </p:spPr>
      </p:cxnSp>
      <p:sp>
        <p:nvSpPr>
          <p:cNvPr id="30" name="四角形: 角を丸くする 29">
            <a:extLst>
              <a:ext uri="{FF2B5EF4-FFF2-40B4-BE49-F238E27FC236}">
                <a16:creationId xmlns:a16="http://schemas.microsoft.com/office/drawing/2014/main" id="{FB79D025-7608-76D3-4A6D-A1F689BCF311}"/>
              </a:ext>
            </a:extLst>
          </p:cNvPr>
          <p:cNvSpPr/>
          <p:nvPr/>
        </p:nvSpPr>
        <p:spPr bwMode="auto">
          <a:xfrm>
            <a:off x="4209230" y="1927442"/>
            <a:ext cx="1046464" cy="374571"/>
          </a:xfrm>
          <a:prstGeom prst="round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i="0" u="none" strike="noStrike" cap="none" normalizeH="0" baseline="0">
                <a:ln>
                  <a:noFill/>
                </a:ln>
                <a:effectLst/>
                <a:latin typeface="Meiryo UI" panose="020B0604030504040204" pitchFamily="50" charset="-128"/>
                <a:ea typeface="Meiryo UI" panose="020B0604030504040204" pitchFamily="50" charset="-128"/>
              </a:rPr>
              <a:t>立ち上げ</a:t>
            </a:r>
          </a:p>
        </p:txBody>
      </p:sp>
      <p:cxnSp>
        <p:nvCxnSpPr>
          <p:cNvPr id="32" name="直線矢印コネクタ 31">
            <a:extLst>
              <a:ext uri="{FF2B5EF4-FFF2-40B4-BE49-F238E27FC236}">
                <a16:creationId xmlns:a16="http://schemas.microsoft.com/office/drawing/2014/main" id="{083A14AC-6D89-C425-F702-A7A9CE7ED5B3}"/>
              </a:ext>
            </a:extLst>
          </p:cNvPr>
          <p:cNvCxnSpPr>
            <a:cxnSpLocks/>
          </p:cNvCxnSpPr>
          <p:nvPr/>
        </p:nvCxnSpPr>
        <p:spPr bwMode="auto">
          <a:xfrm flipV="1">
            <a:off x="4872525" y="1855643"/>
            <a:ext cx="1796394" cy="599962"/>
          </a:xfrm>
          <a:prstGeom prst="straightConnector1">
            <a:avLst/>
          </a:prstGeom>
          <a:solidFill>
            <a:schemeClr val="bg1"/>
          </a:solidFill>
          <a:ln w="12700" cap="flat" cmpd="sng" algn="ctr">
            <a:solidFill>
              <a:schemeClr val="tx1"/>
            </a:solidFill>
            <a:prstDash val="solid"/>
            <a:round/>
            <a:headEnd type="triangle" w="med" len="med"/>
            <a:tailEnd type="none"/>
          </a:ln>
          <a:effectLst/>
        </p:spPr>
      </p:cxnSp>
      <p:sp>
        <p:nvSpPr>
          <p:cNvPr id="3" name="テキスト ボックス 2">
            <a:extLst>
              <a:ext uri="{FF2B5EF4-FFF2-40B4-BE49-F238E27FC236}">
                <a16:creationId xmlns:a16="http://schemas.microsoft.com/office/drawing/2014/main" id="{AAA4A6F7-A690-21F9-F952-98BC950CC5EB}"/>
              </a:ext>
            </a:extLst>
          </p:cNvPr>
          <p:cNvSpPr txBox="1"/>
          <p:nvPr/>
        </p:nvSpPr>
        <p:spPr>
          <a:xfrm>
            <a:off x="6634577" y="31647"/>
            <a:ext cx="2420646" cy="289441"/>
          </a:xfrm>
          <a:prstGeom prst="round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050" b="1">
                <a:solidFill>
                  <a:schemeClr val="bg1"/>
                </a:solidFill>
                <a:latin typeface="Meiryo UI" panose="020B0604030504040204" pitchFamily="50" charset="-128"/>
                <a:ea typeface="Meiryo UI" panose="020B0604030504040204" pitchFamily="50" charset="-128"/>
              </a:rPr>
              <a:t>モビリティ人材・組織育成タイプ</a:t>
            </a:r>
          </a:p>
        </p:txBody>
      </p:sp>
      <p:sp>
        <p:nvSpPr>
          <p:cNvPr id="10" name="テキスト ボックス 9">
            <a:extLst>
              <a:ext uri="{FF2B5EF4-FFF2-40B4-BE49-F238E27FC236}">
                <a16:creationId xmlns:a16="http://schemas.microsoft.com/office/drawing/2014/main" id="{A6CC852B-3DC7-3B16-2FC4-844664F185CE}"/>
              </a:ext>
            </a:extLst>
          </p:cNvPr>
          <p:cNvSpPr txBox="1"/>
          <p:nvPr/>
        </p:nvSpPr>
        <p:spPr>
          <a:xfrm>
            <a:off x="8253548" y="339874"/>
            <a:ext cx="766768" cy="205018"/>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ア</a:t>
            </a:r>
          </a:p>
        </p:txBody>
      </p:sp>
    </p:spTree>
    <p:extLst>
      <p:ext uri="{BB962C8B-B14F-4D97-AF65-F5344CB8AC3E}">
        <p14:creationId xmlns:p14="http://schemas.microsoft.com/office/powerpoint/2010/main" val="586329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27508B-CE78-6AE3-89FD-0ACFEDD6F7D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D4217C9-B12C-4D04-7781-6C0AAC57DFBB}"/>
              </a:ext>
            </a:extLst>
          </p:cNvPr>
          <p:cNvGraphicFramePr>
            <a:graphicFrameLocks noChangeAspect="1"/>
          </p:cNvGraphicFramePr>
          <p:nvPr>
            <p:custDataLst>
              <p:tags r:id="rId1"/>
            </p:custDataLst>
            <p:extLst>
              <p:ext uri="{D42A27DB-BD31-4B8C-83A1-F6EECF244321}">
                <p14:modId xmlns:p14="http://schemas.microsoft.com/office/powerpoint/2010/main" val="1362377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CD4217C9-B12C-4D04-7781-6C0AAC57DF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58F69B85-AA64-D51A-8131-5252C2BA31E0}"/>
              </a:ext>
            </a:extLst>
          </p:cNvPr>
          <p:cNvSpPr txBox="1">
            <a:spLocks/>
          </p:cNvSpPr>
          <p:nvPr/>
        </p:nvSpPr>
        <p:spPr>
          <a:xfrm>
            <a:off x="0" y="-324"/>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応募様式アに係る記載項目の説明 （</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1/2</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endPar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p:txBody>
      </p:sp>
      <p:sp>
        <p:nvSpPr>
          <p:cNvPr id="8" name="テキスト ボックス 7">
            <a:extLst>
              <a:ext uri="{FF2B5EF4-FFF2-40B4-BE49-F238E27FC236}">
                <a16:creationId xmlns:a16="http://schemas.microsoft.com/office/drawing/2014/main" id="{B30047C6-C47F-EF37-D826-6732AF68F196}"/>
              </a:ext>
            </a:extLst>
          </p:cNvPr>
          <p:cNvSpPr txBox="1"/>
          <p:nvPr/>
        </p:nvSpPr>
        <p:spPr>
          <a:xfrm>
            <a:off x="80962" y="593065"/>
            <a:ext cx="1440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記載項目名称</a:t>
            </a:r>
          </a:p>
        </p:txBody>
      </p:sp>
      <p:sp>
        <p:nvSpPr>
          <p:cNvPr id="14" name="正方形/長方形 13">
            <a:extLst>
              <a:ext uri="{FF2B5EF4-FFF2-40B4-BE49-F238E27FC236}">
                <a16:creationId xmlns:a16="http://schemas.microsoft.com/office/drawing/2014/main" id="{2684ED7B-F519-7A8A-5474-E8FA4C711FAD}"/>
              </a:ext>
            </a:extLst>
          </p:cNvPr>
          <p:cNvSpPr/>
          <p:nvPr/>
        </p:nvSpPr>
        <p:spPr bwMode="auto">
          <a:xfrm>
            <a:off x="80962" y="965837"/>
            <a:ext cx="1440000" cy="540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主体</a:t>
            </a:r>
          </a:p>
        </p:txBody>
      </p:sp>
      <p:sp>
        <p:nvSpPr>
          <p:cNvPr id="11" name="テキスト ボックス 10">
            <a:extLst>
              <a:ext uri="{FF2B5EF4-FFF2-40B4-BE49-F238E27FC236}">
                <a16:creationId xmlns:a16="http://schemas.microsoft.com/office/drawing/2014/main" id="{8CA06069-038D-B097-C520-C4951E09418B}"/>
              </a:ext>
            </a:extLst>
          </p:cNvPr>
          <p:cNvSpPr txBox="1"/>
          <p:nvPr/>
        </p:nvSpPr>
        <p:spPr>
          <a:xfrm>
            <a:off x="4627859" y="593065"/>
            <a:ext cx="4435179"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具体的な記載例</a:t>
            </a:r>
          </a:p>
        </p:txBody>
      </p:sp>
      <p:sp>
        <p:nvSpPr>
          <p:cNvPr id="18" name="正方形/長方形 17">
            <a:extLst>
              <a:ext uri="{FF2B5EF4-FFF2-40B4-BE49-F238E27FC236}">
                <a16:creationId xmlns:a16="http://schemas.microsoft.com/office/drawing/2014/main" id="{2C84AD6B-1206-626A-4383-9B5D5808E0BD}"/>
              </a:ext>
            </a:extLst>
          </p:cNvPr>
          <p:cNvSpPr/>
          <p:nvPr/>
        </p:nvSpPr>
        <p:spPr bwMode="auto">
          <a:xfrm>
            <a:off x="4627859" y="965837"/>
            <a:ext cx="4435179" cy="540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主体：株式会社</a:t>
            </a:r>
            <a:r>
              <a:rPr lang="en-US" altLang="ja-JP" sz="1400">
                <a:solidFill>
                  <a:prstClr val="black"/>
                </a:solidFill>
                <a:latin typeface="HGP創英角ｺﾞｼｯｸUB"/>
                <a:ea typeface="Meiryo UI" panose="020B0604030504040204" pitchFamily="50" charset="-128"/>
              </a:rPr>
              <a:t>X</a:t>
            </a:r>
          </a:p>
        </p:txBody>
      </p:sp>
      <p:sp>
        <p:nvSpPr>
          <p:cNvPr id="24" name="正方形/長方形 23">
            <a:extLst>
              <a:ext uri="{FF2B5EF4-FFF2-40B4-BE49-F238E27FC236}">
                <a16:creationId xmlns:a16="http://schemas.microsoft.com/office/drawing/2014/main" id="{6AEB0DA2-DA34-84B7-D341-6350FEECC867}"/>
              </a:ext>
            </a:extLst>
          </p:cNvPr>
          <p:cNvSpPr/>
          <p:nvPr/>
        </p:nvSpPr>
        <p:spPr bwMode="auto">
          <a:xfrm>
            <a:off x="4627859" y="1594565"/>
            <a:ext cx="4435179" cy="540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en-US" altLang="ja-JP" sz="1400">
                <a:solidFill>
                  <a:prstClr val="black"/>
                </a:solidFill>
                <a:latin typeface="HGP創英角ｺﾞｼｯｸUB"/>
                <a:ea typeface="Meiryo UI" panose="020B0604030504040204" pitchFamily="50" charset="-128"/>
              </a:rPr>
              <a:t>XX</a:t>
            </a:r>
            <a:r>
              <a:rPr lang="ja-JP" altLang="en-US" sz="1400">
                <a:solidFill>
                  <a:prstClr val="black"/>
                </a:solidFill>
                <a:latin typeface="HGP創英角ｺﾞｼｯｸUB"/>
                <a:ea typeface="Meiryo UI" panose="020B0604030504040204" pitchFamily="50" charset="-128"/>
              </a:rPr>
              <a:t>県</a:t>
            </a:r>
            <a:r>
              <a:rPr lang="en-US" altLang="ja-JP" sz="1400">
                <a:solidFill>
                  <a:prstClr val="black"/>
                </a:solidFill>
                <a:latin typeface="HGP創英角ｺﾞｼｯｸUB"/>
                <a:ea typeface="Meiryo UI" panose="020B0604030504040204" pitchFamily="50" charset="-128"/>
              </a:rPr>
              <a:t>XX</a:t>
            </a:r>
            <a:r>
              <a:rPr lang="ja-JP" altLang="en-US" sz="1400">
                <a:solidFill>
                  <a:prstClr val="black"/>
                </a:solidFill>
                <a:latin typeface="HGP創英角ｺﾞｼｯｸUB"/>
                <a:ea typeface="Meiryo UI" panose="020B0604030504040204" pitchFamily="50" charset="-128"/>
              </a:rPr>
              <a:t>圏域における</a:t>
            </a:r>
            <a:r>
              <a:rPr lang="en-US" altLang="ja-JP" sz="1400">
                <a:solidFill>
                  <a:prstClr val="black"/>
                </a:solidFill>
                <a:latin typeface="HGP創英角ｺﾞｼｯｸUB"/>
                <a:ea typeface="Meiryo UI" panose="020B0604030504040204" pitchFamily="50" charset="-128"/>
              </a:rPr>
              <a:t>5</a:t>
            </a:r>
            <a:r>
              <a:rPr lang="ja-JP" altLang="en-US" sz="1400">
                <a:solidFill>
                  <a:prstClr val="black"/>
                </a:solidFill>
                <a:latin typeface="HGP創英角ｺﾞｼｯｸUB"/>
                <a:ea typeface="Meiryo UI" panose="020B0604030504040204" pitchFamily="50" charset="-128"/>
              </a:rPr>
              <a:t>市町村</a:t>
            </a:r>
          </a:p>
        </p:txBody>
      </p:sp>
      <p:sp>
        <p:nvSpPr>
          <p:cNvPr id="25" name="正方形/長方形 24">
            <a:extLst>
              <a:ext uri="{FF2B5EF4-FFF2-40B4-BE49-F238E27FC236}">
                <a16:creationId xmlns:a16="http://schemas.microsoft.com/office/drawing/2014/main" id="{7700CF1D-AA9E-3565-2469-0920F7D09258}"/>
              </a:ext>
            </a:extLst>
          </p:cNvPr>
          <p:cNvSpPr/>
          <p:nvPr/>
        </p:nvSpPr>
        <p:spPr bwMode="auto">
          <a:xfrm>
            <a:off x="80962" y="1594564"/>
            <a:ext cx="1440000" cy="540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実施地域</a:t>
            </a:r>
          </a:p>
        </p:txBody>
      </p:sp>
      <p:sp>
        <p:nvSpPr>
          <p:cNvPr id="28" name="正方形/長方形 27">
            <a:extLst>
              <a:ext uri="{FF2B5EF4-FFF2-40B4-BE49-F238E27FC236}">
                <a16:creationId xmlns:a16="http://schemas.microsoft.com/office/drawing/2014/main" id="{B2EDC647-266E-F8ED-FA44-4CB76A8CBBC4}"/>
              </a:ext>
            </a:extLst>
          </p:cNvPr>
          <p:cNvSpPr/>
          <p:nvPr/>
        </p:nvSpPr>
        <p:spPr bwMode="auto">
          <a:xfrm>
            <a:off x="4627859" y="2185193"/>
            <a:ext cx="4435179" cy="1065557"/>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spc="-50">
                <a:latin typeface="Meiryo UI" panose="020B0604030504040204" pitchFamily="50" charset="-128"/>
                <a:ea typeface="Meiryo UI" panose="020B0604030504040204" pitchFamily="50" charset="-128"/>
                <a:sym typeface="+mj-lt"/>
              </a:rPr>
              <a:t>地域の実情に沿った交通ネットワークの構築の検討を進めているが、市町村によって知識に差があり、検討がうまく進んでいない。</a:t>
            </a:r>
            <a:endParaRPr lang="en-US" altLang="ja-JP" sz="1400" spc="-50">
              <a:latin typeface="Meiryo UI" panose="020B0604030504040204" pitchFamily="50" charset="-128"/>
              <a:ea typeface="Meiryo UI" panose="020B0604030504040204" pitchFamily="50" charset="-128"/>
              <a:sym typeface="+mj-lt"/>
            </a:endParaRPr>
          </a:p>
          <a:p>
            <a:pPr marL="285750" indent="-285750">
              <a:buFont typeface="Wingdings" panose="05000000000000000000" pitchFamily="2" charset="2"/>
              <a:buChar char="Ø"/>
            </a:pPr>
            <a:r>
              <a:rPr lang="ja-JP" altLang="en-US" sz="1400" spc="-50">
                <a:latin typeface="Meiryo UI" panose="020B0604030504040204" pitchFamily="50" charset="-128"/>
                <a:ea typeface="Meiryo UI" panose="020B0604030504040204" pitchFamily="50" charset="-128"/>
                <a:sym typeface="+mj-lt"/>
              </a:rPr>
              <a:t>地域公共交通施策の</a:t>
            </a:r>
            <a:r>
              <a:rPr lang="en-US" altLang="ja-JP" sz="1400" spc="-50">
                <a:latin typeface="Meiryo UI" panose="020B0604030504040204" pitchFamily="50" charset="-128"/>
                <a:ea typeface="Meiryo UI" panose="020B0604030504040204" pitchFamily="50" charset="-128"/>
                <a:sym typeface="+mj-lt"/>
              </a:rPr>
              <a:t>EBPM</a:t>
            </a:r>
            <a:r>
              <a:rPr lang="ja-JP" altLang="en-US" sz="1400" spc="-50">
                <a:latin typeface="Meiryo UI" panose="020B0604030504040204" pitchFamily="50" charset="-128"/>
                <a:ea typeface="Meiryo UI" panose="020B0604030504040204" pitchFamily="50" charset="-128"/>
                <a:sym typeface="+mj-lt"/>
              </a:rPr>
              <a:t>の推進に向けては、実情に即した計画立案のためのナレッジ・スキルの習得が不可欠である。</a:t>
            </a:r>
          </a:p>
        </p:txBody>
      </p:sp>
      <p:sp>
        <p:nvSpPr>
          <p:cNvPr id="10" name="テキスト ボックス 9">
            <a:extLst>
              <a:ext uri="{FF2B5EF4-FFF2-40B4-BE49-F238E27FC236}">
                <a16:creationId xmlns:a16="http://schemas.microsoft.com/office/drawing/2014/main" id="{2540D298-4C75-4CB4-0068-3F39AB64B1BC}"/>
              </a:ext>
            </a:extLst>
          </p:cNvPr>
          <p:cNvSpPr txBox="1"/>
          <p:nvPr/>
        </p:nvSpPr>
        <p:spPr>
          <a:xfrm>
            <a:off x="1615438" y="593065"/>
            <a:ext cx="2917945"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の概要</a:t>
            </a:r>
          </a:p>
        </p:txBody>
      </p:sp>
      <p:sp>
        <p:nvSpPr>
          <p:cNvPr id="15" name="正方形/長方形 14">
            <a:extLst>
              <a:ext uri="{FF2B5EF4-FFF2-40B4-BE49-F238E27FC236}">
                <a16:creationId xmlns:a16="http://schemas.microsoft.com/office/drawing/2014/main" id="{8C9314B8-AFB1-1295-A4C6-1975601FF8AE}"/>
              </a:ext>
            </a:extLst>
          </p:cNvPr>
          <p:cNvSpPr/>
          <p:nvPr/>
        </p:nvSpPr>
        <p:spPr bwMode="auto">
          <a:xfrm>
            <a:off x="1615438" y="965837"/>
            <a:ext cx="2917945" cy="540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交付申請先である事業主体を記載</a:t>
            </a:r>
          </a:p>
        </p:txBody>
      </p:sp>
      <p:sp>
        <p:nvSpPr>
          <p:cNvPr id="23" name="正方形/長方形 22">
            <a:extLst>
              <a:ext uri="{FF2B5EF4-FFF2-40B4-BE49-F238E27FC236}">
                <a16:creationId xmlns:a16="http://schemas.microsoft.com/office/drawing/2014/main" id="{1F6A52F2-6E92-A557-BCCE-0BB4C6F5FFE6}"/>
              </a:ext>
            </a:extLst>
          </p:cNvPr>
          <p:cNvSpPr/>
          <p:nvPr/>
        </p:nvSpPr>
        <p:spPr bwMode="auto">
          <a:xfrm>
            <a:off x="1615438" y="1594565"/>
            <a:ext cx="2917945" cy="540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を実施する地域を記載</a:t>
            </a:r>
          </a:p>
        </p:txBody>
      </p:sp>
      <p:sp>
        <p:nvSpPr>
          <p:cNvPr id="27" name="正方形/長方形 26">
            <a:extLst>
              <a:ext uri="{FF2B5EF4-FFF2-40B4-BE49-F238E27FC236}">
                <a16:creationId xmlns:a16="http://schemas.microsoft.com/office/drawing/2014/main" id="{A774D522-4D67-92AE-D61C-BA4DE4EC2EE4}"/>
              </a:ext>
            </a:extLst>
          </p:cNvPr>
          <p:cNvSpPr/>
          <p:nvPr/>
        </p:nvSpPr>
        <p:spPr bwMode="auto">
          <a:xfrm>
            <a:off x="1615438" y="2185193"/>
            <a:ext cx="2917945" cy="1065557"/>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を実施するに至った背景や事業を通じて解消することを目指す課題を記載</a:t>
            </a:r>
          </a:p>
        </p:txBody>
      </p:sp>
      <p:sp>
        <p:nvSpPr>
          <p:cNvPr id="34" name="正方形/長方形 33">
            <a:extLst>
              <a:ext uri="{FF2B5EF4-FFF2-40B4-BE49-F238E27FC236}">
                <a16:creationId xmlns:a16="http://schemas.microsoft.com/office/drawing/2014/main" id="{443DDD8D-8D5C-05D7-41B1-2619D3F4CEE2}"/>
              </a:ext>
            </a:extLst>
          </p:cNvPr>
          <p:cNvSpPr/>
          <p:nvPr/>
        </p:nvSpPr>
        <p:spPr bwMode="auto">
          <a:xfrm>
            <a:off x="1615438" y="3396578"/>
            <a:ext cx="2917945" cy="1065557"/>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における目的や、事業を通じて目指す姿を記載</a:t>
            </a:r>
          </a:p>
        </p:txBody>
      </p:sp>
      <p:sp>
        <p:nvSpPr>
          <p:cNvPr id="35" name="正方形/長方形 34">
            <a:extLst>
              <a:ext uri="{FF2B5EF4-FFF2-40B4-BE49-F238E27FC236}">
                <a16:creationId xmlns:a16="http://schemas.microsoft.com/office/drawing/2014/main" id="{236C9DF8-D010-7A1C-9FAB-1FB9079039AA}"/>
              </a:ext>
            </a:extLst>
          </p:cNvPr>
          <p:cNvSpPr/>
          <p:nvPr/>
        </p:nvSpPr>
        <p:spPr bwMode="auto">
          <a:xfrm>
            <a:off x="4627859" y="3396578"/>
            <a:ext cx="4435179" cy="1065557"/>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latin typeface="Meiryo UI" panose="020B0604030504040204" pitchFamily="50" charset="-128"/>
                <a:ea typeface="Meiryo UI" panose="020B0604030504040204" pitchFamily="50" charset="-128"/>
                <a:sym typeface="+mj-lt"/>
              </a:rPr>
              <a:t>各市町村の交通担当者がデータに基づいた公共交通施策を検討・立案できるようなナレッジ・スキルを習得する。</a:t>
            </a:r>
            <a:endParaRPr lang="en-US" altLang="ja-JP" sz="1400">
              <a:latin typeface="Meiryo UI" panose="020B0604030504040204" pitchFamily="50" charset="-128"/>
              <a:ea typeface="Meiryo UI" panose="020B0604030504040204" pitchFamily="50" charset="-128"/>
              <a:sym typeface="+mj-lt"/>
            </a:endParaRPr>
          </a:p>
          <a:p>
            <a:pPr marL="285750" indent="-285750">
              <a:buFont typeface="Wingdings" panose="05000000000000000000" pitchFamily="2" charset="2"/>
              <a:buChar char="Ø"/>
            </a:pPr>
            <a:r>
              <a:rPr lang="ja-JP" altLang="en-US" sz="1400">
                <a:latin typeface="Meiryo UI" panose="020B0604030504040204" pitchFamily="50" charset="-128"/>
                <a:ea typeface="Meiryo UI" panose="020B0604030504040204" pitchFamily="50" charset="-128"/>
                <a:sym typeface="+mj-lt"/>
              </a:rPr>
              <a:t>改定が予定されている圏域の地域公共交通計画をアップデートすることで、地域の実情を踏まえたより最適な地域公共交通施策を行えるようになることを目的とする。</a:t>
            </a:r>
          </a:p>
        </p:txBody>
      </p:sp>
      <p:sp>
        <p:nvSpPr>
          <p:cNvPr id="40" name="正方形/長方形 39">
            <a:extLst>
              <a:ext uri="{FF2B5EF4-FFF2-40B4-BE49-F238E27FC236}">
                <a16:creationId xmlns:a16="http://schemas.microsoft.com/office/drawing/2014/main" id="{1E2F49BA-85BC-2C12-F2AE-5D8495A4A293}"/>
              </a:ext>
            </a:extLst>
          </p:cNvPr>
          <p:cNvSpPr/>
          <p:nvPr/>
        </p:nvSpPr>
        <p:spPr bwMode="auto">
          <a:xfrm>
            <a:off x="80962" y="2185193"/>
            <a:ext cx="1440000" cy="2276941"/>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背景・目的</a:t>
            </a:r>
          </a:p>
        </p:txBody>
      </p:sp>
      <p:sp>
        <p:nvSpPr>
          <p:cNvPr id="21" name="正方形/長方形 20">
            <a:extLst>
              <a:ext uri="{FF2B5EF4-FFF2-40B4-BE49-F238E27FC236}">
                <a16:creationId xmlns:a16="http://schemas.microsoft.com/office/drawing/2014/main" id="{74459ACB-8440-A935-AFEF-A6E051ACE57A}"/>
              </a:ext>
            </a:extLst>
          </p:cNvPr>
          <p:cNvSpPr/>
          <p:nvPr/>
        </p:nvSpPr>
        <p:spPr bwMode="auto">
          <a:xfrm>
            <a:off x="4627859" y="4557162"/>
            <a:ext cx="4435179" cy="2160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r>
              <a:rPr lang="ja-JP" altLang="en-US" sz="1400" dirty="0">
                <a:latin typeface="Meiryo UI" panose="020B0604030504040204" pitchFamily="50" charset="-128"/>
                <a:ea typeface="Meiryo UI" panose="020B0604030504040204" pitchFamily="50" charset="-128"/>
                <a:sym typeface="+mj-lt"/>
              </a:rPr>
              <a:t>６月～７月：人材育成カリキュラムの企画・立案</a:t>
            </a:r>
          </a:p>
          <a:p>
            <a:r>
              <a:rPr lang="ja-JP" altLang="en-US" sz="1400" dirty="0">
                <a:latin typeface="Meiryo UI" panose="020B0604030504040204" pitchFamily="50" charset="-128"/>
                <a:ea typeface="Meiryo UI" panose="020B0604030504040204" pitchFamily="50" charset="-128"/>
                <a:sym typeface="+mj-lt"/>
              </a:rPr>
              <a:t>圏域内の各市町村の交通担当者を対象として、各種データに基づく公共交通の現状把握や分析を通じた施策立案等に資する人材育成プログラムを企画・立案する。</a:t>
            </a:r>
          </a:p>
          <a:p>
            <a:r>
              <a:rPr lang="ja-JP" altLang="en-US" sz="1400" dirty="0">
                <a:latin typeface="Meiryo UI" panose="020B0604030504040204" pitchFamily="50" charset="-128"/>
                <a:ea typeface="Meiryo UI" panose="020B0604030504040204" pitchFamily="50" charset="-128"/>
                <a:sym typeface="+mj-lt"/>
              </a:rPr>
              <a:t>７月～８月：講義の実施（全</a:t>
            </a:r>
            <a:r>
              <a:rPr lang="en-US" altLang="ja-JP" sz="1400" dirty="0">
                <a:latin typeface="Meiryo UI" panose="020B0604030504040204" pitchFamily="50" charset="-128"/>
                <a:ea typeface="Meiryo UI" panose="020B0604030504040204" pitchFamily="50" charset="-128"/>
                <a:sym typeface="+mj-lt"/>
              </a:rPr>
              <a:t>X</a:t>
            </a:r>
            <a:r>
              <a:rPr lang="ja-JP" altLang="en-US" sz="1400" dirty="0">
                <a:latin typeface="Meiryo UI" panose="020B0604030504040204" pitchFamily="50" charset="-128"/>
                <a:ea typeface="Meiryo UI" panose="020B0604030504040204" pitchFamily="50" charset="-128"/>
                <a:sym typeface="+mj-lt"/>
              </a:rPr>
              <a:t>回）</a:t>
            </a:r>
          </a:p>
          <a:p>
            <a:r>
              <a:rPr lang="ja-JP" altLang="en-US" sz="1400" dirty="0">
                <a:latin typeface="Meiryo UI" panose="020B0604030504040204" pitchFamily="50" charset="-128"/>
                <a:ea typeface="Meiryo UI" panose="020B0604030504040204" pitchFamily="50" charset="-128"/>
                <a:sym typeface="+mj-lt"/>
              </a:rPr>
              <a:t>公共交通の専門家を招聘し、データ等の施策立案や</a:t>
            </a:r>
            <a:r>
              <a:rPr lang="en-US" altLang="ja-JP" sz="1400" dirty="0">
                <a:latin typeface="Meiryo UI" panose="020B0604030504040204" pitchFamily="50" charset="-128"/>
                <a:ea typeface="Meiryo UI" panose="020B0604030504040204" pitchFamily="50" charset="-128"/>
                <a:sym typeface="+mj-lt"/>
              </a:rPr>
              <a:t>EBPM</a:t>
            </a:r>
            <a:r>
              <a:rPr lang="ja-JP" altLang="en-US" sz="1400" dirty="0">
                <a:latin typeface="Meiryo UI" panose="020B0604030504040204" pitchFamily="50" charset="-128"/>
                <a:ea typeface="Meiryo UI" panose="020B0604030504040204" pitchFamily="50" charset="-128"/>
                <a:sym typeface="+mj-lt"/>
              </a:rPr>
              <a:t>について学習し、基本的な知識を取得する。</a:t>
            </a:r>
          </a:p>
          <a:p>
            <a:r>
              <a:rPr lang="en-US" altLang="ja-JP" sz="1400" dirty="0">
                <a:latin typeface="Meiryo UI" panose="020B0604030504040204" pitchFamily="50" charset="-128"/>
                <a:ea typeface="Meiryo UI" panose="020B0604030504040204" pitchFamily="50" charset="-128"/>
                <a:sym typeface="+mj-lt"/>
              </a:rPr>
              <a:t>9</a:t>
            </a:r>
            <a:r>
              <a:rPr lang="ja-JP" altLang="en-US" sz="1400" dirty="0">
                <a:latin typeface="Meiryo UI" panose="020B0604030504040204" pitchFamily="50" charset="-128"/>
                <a:ea typeface="Meiryo UI" panose="020B0604030504040204" pitchFamily="50" charset="-128"/>
                <a:sym typeface="+mj-lt"/>
              </a:rPr>
              <a:t>月～</a:t>
            </a:r>
            <a:r>
              <a:rPr lang="en-US" altLang="ja-JP" sz="1400" dirty="0">
                <a:latin typeface="Meiryo UI" panose="020B0604030504040204" pitchFamily="50" charset="-128"/>
                <a:ea typeface="Meiryo UI" panose="020B0604030504040204" pitchFamily="50" charset="-128"/>
                <a:sym typeface="+mj-lt"/>
              </a:rPr>
              <a:t>11</a:t>
            </a:r>
            <a:r>
              <a:rPr lang="ja-JP" altLang="en-US" sz="1400" dirty="0">
                <a:latin typeface="Meiryo UI" panose="020B0604030504040204" pitchFamily="50" charset="-128"/>
                <a:ea typeface="Meiryo UI" panose="020B0604030504040204" pitchFamily="50" charset="-128"/>
                <a:sym typeface="+mj-lt"/>
              </a:rPr>
              <a:t>月：</a:t>
            </a:r>
            <a:r>
              <a:rPr lang="en-US" altLang="ja-JP" sz="1400" dirty="0">
                <a:latin typeface="Meiryo UI" panose="020B0604030504040204" pitchFamily="50" charset="-128"/>
                <a:ea typeface="Meiryo UI" panose="020B0604030504040204" pitchFamily="50" charset="-128"/>
                <a:sym typeface="+mj-lt"/>
              </a:rPr>
              <a:t>OJT</a:t>
            </a:r>
            <a:r>
              <a:rPr lang="ja-JP" altLang="en-US" sz="1400" dirty="0">
                <a:latin typeface="Meiryo UI" panose="020B0604030504040204" pitchFamily="50" charset="-128"/>
                <a:ea typeface="Meiryo UI" panose="020B0604030504040204" pitchFamily="50" charset="-128"/>
                <a:sym typeface="+mj-lt"/>
              </a:rPr>
              <a:t>・ワークショップの実施（全</a:t>
            </a:r>
            <a:r>
              <a:rPr lang="en-US" altLang="ja-JP" sz="1400" dirty="0">
                <a:latin typeface="Meiryo UI" panose="020B0604030504040204" pitchFamily="50" charset="-128"/>
                <a:ea typeface="Meiryo UI" panose="020B0604030504040204" pitchFamily="50" charset="-128"/>
                <a:sym typeface="+mj-lt"/>
              </a:rPr>
              <a:t>X</a:t>
            </a:r>
            <a:r>
              <a:rPr lang="ja-JP" altLang="en-US" sz="1400" dirty="0">
                <a:latin typeface="Meiryo UI" panose="020B0604030504040204" pitchFamily="50" charset="-128"/>
                <a:ea typeface="Meiryo UI" panose="020B0604030504040204" pitchFamily="50" charset="-128"/>
                <a:sym typeface="+mj-lt"/>
              </a:rPr>
              <a:t>回）</a:t>
            </a:r>
          </a:p>
          <a:p>
            <a:r>
              <a:rPr lang="ja-JP" altLang="en-US" sz="1400" dirty="0">
                <a:latin typeface="Meiryo UI" panose="020B0604030504040204" pitchFamily="50" charset="-128"/>
                <a:ea typeface="Meiryo UI" panose="020B0604030504040204" pitchFamily="50" charset="-128"/>
                <a:sym typeface="+mj-lt"/>
              </a:rPr>
              <a:t>実際の地域の交通データを活用した</a:t>
            </a:r>
            <a:r>
              <a:rPr lang="en-US" altLang="ja-JP" sz="1400" dirty="0">
                <a:latin typeface="Meiryo UI" panose="020B0604030504040204" pitchFamily="50" charset="-128"/>
                <a:ea typeface="Meiryo UI" panose="020B0604030504040204" pitchFamily="50" charset="-128"/>
                <a:sym typeface="+mj-lt"/>
              </a:rPr>
              <a:t>OJT</a:t>
            </a:r>
            <a:r>
              <a:rPr lang="ja-JP" altLang="en-US" sz="1400" dirty="0">
                <a:latin typeface="Meiryo UI" panose="020B0604030504040204" pitchFamily="50" charset="-128"/>
                <a:ea typeface="Meiryo UI" panose="020B0604030504040204" pitchFamily="50" charset="-128"/>
                <a:sym typeface="+mj-lt"/>
              </a:rPr>
              <a:t>を行うとともに、データ分析作業をハンズオンで行うワークショップを開催する。</a:t>
            </a:r>
          </a:p>
        </p:txBody>
      </p:sp>
      <p:sp>
        <p:nvSpPr>
          <p:cNvPr id="22" name="正方形/長方形 21">
            <a:extLst>
              <a:ext uri="{FF2B5EF4-FFF2-40B4-BE49-F238E27FC236}">
                <a16:creationId xmlns:a16="http://schemas.microsoft.com/office/drawing/2014/main" id="{D39E6EFE-B063-92EC-BA06-A870D3AEFFF1}"/>
              </a:ext>
            </a:extLst>
          </p:cNvPr>
          <p:cNvSpPr/>
          <p:nvPr/>
        </p:nvSpPr>
        <p:spPr bwMode="auto">
          <a:xfrm>
            <a:off x="80962" y="4557162"/>
            <a:ext cx="1440000" cy="2160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実施手順</a:t>
            </a:r>
            <a:endParaRPr lang="zh-TW" altLang="en-US" sz="1400" b="1">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59CB6F31-1AD3-2993-A7AE-DB45E3AE29F6}"/>
              </a:ext>
            </a:extLst>
          </p:cNvPr>
          <p:cNvSpPr/>
          <p:nvPr/>
        </p:nvSpPr>
        <p:spPr bwMode="auto">
          <a:xfrm>
            <a:off x="1615438" y="4557162"/>
            <a:ext cx="2917945" cy="2160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の実施手順の全体像と</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その詳細を記載</a:t>
            </a:r>
          </a:p>
        </p:txBody>
      </p:sp>
    </p:spTree>
    <p:extLst>
      <p:ext uri="{BB962C8B-B14F-4D97-AF65-F5344CB8AC3E}">
        <p14:creationId xmlns:p14="http://schemas.microsoft.com/office/powerpoint/2010/main" val="27997624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9AC579-5BAE-3447-643E-B095441DE3D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0062D4-D4E0-C7FD-C83C-F0A5C40086A9}"/>
              </a:ext>
            </a:extLst>
          </p:cNvPr>
          <p:cNvGraphicFramePr>
            <a:graphicFrameLocks noChangeAspect="1"/>
          </p:cNvGraphicFramePr>
          <p:nvPr>
            <p:custDataLst>
              <p:tags r:id="rId1"/>
            </p:custDataLst>
            <p:extLst>
              <p:ext uri="{D42A27DB-BD31-4B8C-83A1-F6EECF244321}">
                <p14:modId xmlns:p14="http://schemas.microsoft.com/office/powerpoint/2010/main" val="1436660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C70062D4-D4E0-C7FD-C83C-F0A5C40086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FCBB4B86-123D-7368-1E76-DFB27692C527}"/>
              </a:ext>
            </a:extLst>
          </p:cNvPr>
          <p:cNvSpPr txBox="1"/>
          <p:nvPr/>
        </p:nvSpPr>
        <p:spPr>
          <a:xfrm>
            <a:off x="80962" y="432110"/>
            <a:ext cx="1116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記載項目名称</a:t>
            </a:r>
          </a:p>
        </p:txBody>
      </p:sp>
      <p:sp>
        <p:nvSpPr>
          <p:cNvPr id="20" name="正方形/長方形 19">
            <a:extLst>
              <a:ext uri="{FF2B5EF4-FFF2-40B4-BE49-F238E27FC236}">
                <a16:creationId xmlns:a16="http://schemas.microsoft.com/office/drawing/2014/main" id="{4D665395-0B85-6ED3-6B3D-4E01CA6D1B3F}"/>
              </a:ext>
            </a:extLst>
          </p:cNvPr>
          <p:cNvSpPr/>
          <p:nvPr/>
        </p:nvSpPr>
        <p:spPr bwMode="auto">
          <a:xfrm>
            <a:off x="80962" y="762637"/>
            <a:ext cx="1116000" cy="396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費</a:t>
            </a:r>
          </a:p>
        </p:txBody>
      </p:sp>
      <p:sp>
        <p:nvSpPr>
          <p:cNvPr id="11" name="テキスト ボックス 10">
            <a:extLst>
              <a:ext uri="{FF2B5EF4-FFF2-40B4-BE49-F238E27FC236}">
                <a16:creationId xmlns:a16="http://schemas.microsoft.com/office/drawing/2014/main" id="{7CF9D943-55CC-A4F4-71B4-229A4F0B0898}"/>
              </a:ext>
            </a:extLst>
          </p:cNvPr>
          <p:cNvSpPr txBox="1"/>
          <p:nvPr/>
        </p:nvSpPr>
        <p:spPr>
          <a:xfrm>
            <a:off x="4030958" y="432110"/>
            <a:ext cx="5040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具体的な記載例</a:t>
            </a:r>
          </a:p>
        </p:txBody>
      </p:sp>
      <p:sp>
        <p:nvSpPr>
          <p:cNvPr id="16" name="正方形/長方形 15">
            <a:extLst>
              <a:ext uri="{FF2B5EF4-FFF2-40B4-BE49-F238E27FC236}">
                <a16:creationId xmlns:a16="http://schemas.microsoft.com/office/drawing/2014/main" id="{FD1CD3D1-55AF-17DC-B177-DF84C19B54E2}"/>
              </a:ext>
            </a:extLst>
          </p:cNvPr>
          <p:cNvSpPr/>
          <p:nvPr/>
        </p:nvSpPr>
        <p:spPr bwMode="auto">
          <a:xfrm>
            <a:off x="4030958" y="762637"/>
            <a:ext cx="5040000" cy="396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en-US" altLang="ja-JP" sz="1400">
                <a:latin typeface="HGP創英角ｺﾞｼｯｸUB"/>
                <a:ea typeface="Meiryo UI" panose="020B0604030504040204" pitchFamily="50" charset="-128"/>
              </a:rPr>
              <a:t>【</a:t>
            </a:r>
            <a:r>
              <a:rPr lang="ja-JP" altLang="en-US" sz="1400">
                <a:latin typeface="HGP創英角ｺﾞｼｯｸUB"/>
                <a:ea typeface="Meiryo UI" panose="020B0604030504040204" pitchFamily="50" charset="-128"/>
              </a:rPr>
              <a:t>事業全体費用</a:t>
            </a:r>
            <a:r>
              <a:rPr lang="en-US" altLang="ja-JP" sz="1400">
                <a:latin typeface="HGP創英角ｺﾞｼｯｸUB"/>
                <a:ea typeface="Meiryo UI" panose="020B0604030504040204" pitchFamily="50" charset="-128"/>
              </a:rPr>
              <a:t>】</a:t>
            </a:r>
            <a:r>
              <a:rPr lang="ja-JP" altLang="en-US" sz="1400">
                <a:latin typeface="HGP創英角ｺﾞｼｯｸUB"/>
                <a:ea typeface="Meiryo UI" panose="020B0604030504040204" pitchFamily="50" charset="-128"/>
              </a:rPr>
              <a:t>：</a:t>
            </a:r>
            <a:r>
              <a:rPr lang="en-US" altLang="ja-JP" sz="1400">
                <a:latin typeface="HGP創英角ｺﾞｼｯｸUB"/>
                <a:ea typeface="Meiryo UI" panose="020B0604030504040204" pitchFamily="50" charset="-128"/>
              </a:rPr>
              <a:t>10,000,000</a:t>
            </a:r>
            <a:r>
              <a:rPr lang="ja-JP" altLang="en-US" sz="1400">
                <a:latin typeface="HGP創英角ｺﾞｼｯｸUB"/>
                <a:ea typeface="Meiryo UI" panose="020B0604030504040204" pitchFamily="50" charset="-128"/>
              </a:rPr>
              <a:t>円</a:t>
            </a:r>
          </a:p>
          <a:p>
            <a:pPr marL="285750" indent="-285750">
              <a:buFont typeface="Wingdings" panose="05000000000000000000" pitchFamily="2" charset="2"/>
              <a:buChar char="Ø"/>
            </a:pPr>
            <a:r>
              <a:rPr lang="en-US" altLang="ja-JP" sz="1400">
                <a:latin typeface="HGP創英角ｺﾞｼｯｸUB"/>
                <a:ea typeface="Meiryo UI" panose="020B0604030504040204" pitchFamily="50" charset="-128"/>
              </a:rPr>
              <a:t>【</a:t>
            </a:r>
            <a:r>
              <a:rPr lang="ja-JP" altLang="en-US" sz="1400">
                <a:latin typeface="HGP創英角ｺﾞｼｯｸUB"/>
                <a:ea typeface="Meiryo UI" panose="020B0604030504040204" pitchFamily="50" charset="-128"/>
              </a:rPr>
              <a:t>補助対象経費（収入分を除く）</a:t>
            </a:r>
            <a:r>
              <a:rPr lang="en-US" altLang="ja-JP" sz="1400">
                <a:latin typeface="HGP創英角ｺﾞｼｯｸUB"/>
                <a:ea typeface="Meiryo UI" panose="020B0604030504040204" pitchFamily="50" charset="-128"/>
              </a:rPr>
              <a:t>】</a:t>
            </a:r>
            <a:r>
              <a:rPr lang="ja-JP" altLang="en-US" sz="1400">
                <a:latin typeface="HGP創英角ｺﾞｼｯｸUB"/>
                <a:ea typeface="Meiryo UI" panose="020B0604030504040204" pitchFamily="50" charset="-128"/>
              </a:rPr>
              <a:t>：</a:t>
            </a:r>
            <a:r>
              <a:rPr lang="en-US" altLang="ja-JP" sz="1400">
                <a:latin typeface="HGP創英角ｺﾞｼｯｸUB"/>
                <a:ea typeface="Meiryo UI" panose="020B0604030504040204" pitchFamily="50" charset="-128"/>
              </a:rPr>
              <a:t> 10,000,000</a:t>
            </a:r>
            <a:r>
              <a:rPr lang="ja-JP" altLang="en-US" sz="1400">
                <a:latin typeface="HGP創英角ｺﾞｼｯｸUB"/>
                <a:ea typeface="Meiryo UI" panose="020B0604030504040204" pitchFamily="50" charset="-128"/>
              </a:rPr>
              <a:t>円</a:t>
            </a:r>
          </a:p>
        </p:txBody>
      </p:sp>
      <p:sp>
        <p:nvSpPr>
          <p:cNvPr id="30" name="正方形/長方形 29">
            <a:extLst>
              <a:ext uri="{FF2B5EF4-FFF2-40B4-BE49-F238E27FC236}">
                <a16:creationId xmlns:a16="http://schemas.microsoft.com/office/drawing/2014/main" id="{84E13CD4-5630-1956-7BE9-AA9E2D27AA63}"/>
              </a:ext>
            </a:extLst>
          </p:cNvPr>
          <p:cNvSpPr/>
          <p:nvPr/>
        </p:nvSpPr>
        <p:spPr bwMode="auto">
          <a:xfrm>
            <a:off x="4023038" y="1222671"/>
            <a:ext cx="5040000" cy="2772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lvl="0" defTabSz="906146">
              <a:lnSpc>
                <a:spcPts val="1500"/>
              </a:lnSpc>
              <a:defRPr/>
            </a:pPr>
            <a:r>
              <a:rPr lang="ja-JP" altLang="en-US" sz="1400" spc="-150" dirty="0">
                <a:latin typeface="Meiryo UI" panose="020B0604030504040204" pitchFamily="50" charset="-128"/>
                <a:ea typeface="Meiryo UI" panose="020B0604030504040204" pitchFamily="50" charset="-128"/>
              </a:rPr>
              <a:t>・人材育成カリキュラムの企画・立案</a:t>
            </a:r>
            <a:endParaRPr lang="en-US" altLang="ja-JP" sz="1400" spc="-150" dirty="0">
              <a:latin typeface="Meiryo UI" panose="020B0604030504040204" pitchFamily="50" charset="-128"/>
              <a:ea typeface="Meiryo UI" panose="020B0604030504040204" pitchFamily="50" charset="-128"/>
            </a:endParaRPr>
          </a:p>
          <a:p>
            <a:pPr lvl="0" defTabSz="906146">
              <a:lnSpc>
                <a:spcPts val="1500"/>
              </a:lnSpc>
              <a:defRPr/>
            </a:pPr>
            <a:r>
              <a:rPr lang="ja-JP" altLang="en-US" sz="1400" spc="-150" dirty="0">
                <a:latin typeface="Meiryo UI" panose="020B0604030504040204" pitchFamily="50" charset="-128"/>
                <a:ea typeface="Meiryo UI" panose="020B0604030504040204" pitchFamily="50" charset="-128"/>
              </a:rPr>
              <a:t>　</a:t>
            </a:r>
            <a:r>
              <a:rPr lang="ja-JP" altLang="en-US" sz="1400" spc="-100" dirty="0">
                <a:latin typeface="Meiryo UI" panose="020B0604030504040204" pitchFamily="50" charset="-128"/>
                <a:ea typeface="Meiryo UI" panose="020B0604030504040204" pitchFamily="50" charset="-128"/>
              </a:rPr>
              <a:t>地方公共団体と連携しつつ</a:t>
            </a:r>
            <a:r>
              <a:rPr lang="ja-JP" altLang="en-US" sz="1400" spc="-150" dirty="0">
                <a:latin typeface="Meiryo UI" panose="020B0604030504040204" pitchFamily="50" charset="-128"/>
                <a:ea typeface="Meiryo UI" panose="020B0604030504040204" pitchFamily="50" charset="-128"/>
              </a:rPr>
              <a:t>、カリキュラム及び教材の作成等を行う。</a:t>
            </a:r>
            <a:endParaRPr lang="en-US" altLang="ja-JP" sz="1400" spc="-150" dirty="0">
              <a:latin typeface="Meiryo UI" panose="020B0604030504040204" pitchFamily="50" charset="-128"/>
              <a:ea typeface="Meiryo UI" panose="020B0604030504040204" pitchFamily="50" charset="-128"/>
            </a:endParaRPr>
          </a:p>
          <a:p>
            <a:pPr lvl="0" defTabSz="906146">
              <a:lnSpc>
                <a:spcPts val="1500"/>
              </a:lnSpc>
              <a:defRPr/>
            </a:pPr>
            <a:r>
              <a:rPr lang="ja-JP" altLang="en-US" sz="1400" spc="-150" dirty="0">
                <a:latin typeface="Meiryo UI" panose="020B0604030504040204" pitchFamily="50" charset="-128"/>
                <a:ea typeface="Meiryo UI" panose="020B0604030504040204" pitchFamily="50" charset="-128"/>
              </a:rPr>
              <a:t>・講義の実施</a:t>
            </a:r>
            <a:endParaRPr lang="en-US" altLang="ja-JP" sz="1400" spc="-150" dirty="0">
              <a:latin typeface="Meiryo UI" panose="020B0604030504040204" pitchFamily="50" charset="-128"/>
              <a:ea typeface="Meiryo UI" panose="020B0604030504040204" pitchFamily="50" charset="-128"/>
            </a:endParaRPr>
          </a:p>
          <a:p>
            <a:pPr lvl="0" defTabSz="906146">
              <a:lnSpc>
                <a:spcPts val="1500"/>
              </a:lnSpc>
              <a:defRPr/>
            </a:pPr>
            <a:r>
              <a:rPr lang="ja-JP" altLang="en-US" sz="1400" spc="-150" dirty="0">
                <a:latin typeface="Meiryo UI" panose="020B0604030504040204" pitchFamily="50" charset="-128"/>
                <a:ea typeface="Meiryo UI" panose="020B0604030504040204" pitchFamily="50" charset="-128"/>
              </a:rPr>
              <a:t>　公共交通の専門家を招くことで、データ等に基づく施策立案の必要性についての認識を深める内容を通じて、</a:t>
            </a:r>
            <a:r>
              <a:rPr lang="en-US" altLang="ja-JP" sz="1400" spc="-150" dirty="0">
                <a:latin typeface="Meiryo UI" panose="020B0604030504040204" pitchFamily="50" charset="-128"/>
                <a:ea typeface="Meiryo UI" panose="020B0604030504040204" pitchFamily="50" charset="-128"/>
              </a:rPr>
              <a:t>EBPM</a:t>
            </a:r>
            <a:r>
              <a:rPr lang="ja-JP" altLang="en-US" sz="1400" spc="-150" dirty="0">
                <a:latin typeface="Meiryo UI" panose="020B0604030504040204" pitchFamily="50" charset="-128"/>
                <a:ea typeface="Meiryo UI" panose="020B0604030504040204" pitchFamily="50" charset="-128"/>
              </a:rPr>
              <a:t>の重要性等の地域公共交通行政の基本的な知識を取得する。具体的な作業としては、講師との日程調整や、講義の事務局運営等を行う。</a:t>
            </a:r>
            <a:endParaRPr lang="en-US" altLang="ja-JP" sz="1400" spc="-150" dirty="0">
              <a:latin typeface="Meiryo UI" panose="020B0604030504040204" pitchFamily="50" charset="-128"/>
              <a:ea typeface="Meiryo UI" panose="020B0604030504040204" pitchFamily="50" charset="-128"/>
            </a:endParaRPr>
          </a:p>
          <a:p>
            <a:pPr lvl="0" defTabSz="906146">
              <a:lnSpc>
                <a:spcPts val="1500"/>
              </a:lnSpc>
              <a:defRPr/>
            </a:pPr>
            <a:r>
              <a:rPr lang="ja-JP" altLang="en-US" sz="1400" spc="-150" dirty="0">
                <a:latin typeface="Meiryo UI" panose="020B0604030504040204" pitchFamily="50" charset="-128"/>
                <a:ea typeface="Meiryo UI" panose="020B0604030504040204" pitchFamily="50" charset="-128"/>
              </a:rPr>
              <a:t>・</a:t>
            </a:r>
            <a:r>
              <a:rPr lang="en-US" altLang="ja-JP" sz="1400" spc="-150" dirty="0">
                <a:latin typeface="Meiryo UI" panose="020B0604030504040204" pitchFamily="50" charset="-128"/>
                <a:ea typeface="Meiryo UI" panose="020B0604030504040204" pitchFamily="50" charset="-128"/>
              </a:rPr>
              <a:t>OJT</a:t>
            </a:r>
            <a:r>
              <a:rPr lang="ja-JP" altLang="en-US" sz="1400" spc="-150" dirty="0">
                <a:latin typeface="Meiryo UI" panose="020B0604030504040204" pitchFamily="50" charset="-128"/>
                <a:ea typeface="Meiryo UI" panose="020B0604030504040204" pitchFamily="50" charset="-128"/>
              </a:rPr>
              <a:t>・ワークショップの実施</a:t>
            </a:r>
            <a:endParaRPr lang="en-US" altLang="ja-JP" sz="1400" spc="-150" dirty="0">
              <a:latin typeface="Meiryo UI" panose="020B0604030504040204" pitchFamily="50" charset="-128"/>
              <a:ea typeface="Meiryo UI" panose="020B0604030504040204" pitchFamily="50" charset="-128"/>
            </a:endParaRPr>
          </a:p>
          <a:p>
            <a:pPr lvl="0" defTabSz="906146">
              <a:lnSpc>
                <a:spcPts val="1500"/>
              </a:lnSpc>
              <a:defRPr/>
            </a:pPr>
            <a:r>
              <a:rPr lang="ja-JP" altLang="en-US" sz="1400" spc="-150" dirty="0">
                <a:latin typeface="Meiryo UI" panose="020B0604030504040204" pitchFamily="50" charset="-128"/>
                <a:ea typeface="Meiryo UI" panose="020B0604030504040204" pitchFamily="50" charset="-128"/>
              </a:rPr>
              <a:t>　実際の地域内の交通データを活用した施策立案の流れをハンズオンで経験し、</a:t>
            </a:r>
            <a:r>
              <a:rPr lang="en-US" altLang="ja-JP" sz="1400" spc="-150" dirty="0">
                <a:latin typeface="Meiryo UI" panose="020B0604030504040204" pitchFamily="50" charset="-128"/>
                <a:ea typeface="Meiryo UI" panose="020B0604030504040204" pitchFamily="50" charset="-128"/>
              </a:rPr>
              <a:t>EBPM</a:t>
            </a:r>
            <a:r>
              <a:rPr lang="ja-JP" altLang="en-US" sz="1400" spc="-150" dirty="0">
                <a:latin typeface="Meiryo UI" panose="020B0604030504040204" pitchFamily="50" charset="-128"/>
                <a:ea typeface="Meiryo UI" panose="020B0604030504040204" pitchFamily="50" charset="-128"/>
              </a:rPr>
              <a:t>の推進に向けた課題及び対策を把握することで、スキルの習得及び理解の向上を図る。その後、意見交換を関係者間で行い、その結果を専門家から講評を受け、自身で行ったデータ分析結果等を振り返ることで、一段階高いスキルの習得を図る。具体的な作業としては、日程調整や会場の手配、当日の</a:t>
            </a:r>
            <a:r>
              <a:rPr lang="en-US" altLang="ja-JP" sz="1400" spc="-150" dirty="0">
                <a:latin typeface="Meiryo UI" panose="020B0604030504040204" pitchFamily="50" charset="-128"/>
                <a:ea typeface="Meiryo UI" panose="020B0604030504040204" pitchFamily="50" charset="-128"/>
              </a:rPr>
              <a:t>OJT</a:t>
            </a:r>
            <a:r>
              <a:rPr lang="ja-JP" altLang="en-US" sz="1400" spc="-150" dirty="0">
                <a:latin typeface="Meiryo UI" panose="020B0604030504040204" pitchFamily="50" charset="-128"/>
                <a:ea typeface="Meiryo UI" panose="020B0604030504040204" pitchFamily="50" charset="-128"/>
              </a:rPr>
              <a:t>・ワークショップの事務局運営等を行う。</a:t>
            </a:r>
            <a:endParaRPr lang="en-US" altLang="ja-JP" sz="1400" spc="-150" dirty="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63B935BE-9226-6BE8-F7C0-73915F8EA73A}"/>
              </a:ext>
            </a:extLst>
          </p:cNvPr>
          <p:cNvSpPr txBox="1"/>
          <p:nvPr/>
        </p:nvSpPr>
        <p:spPr>
          <a:xfrm>
            <a:off x="1221738" y="432110"/>
            <a:ext cx="2700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の概要</a:t>
            </a:r>
          </a:p>
        </p:txBody>
      </p:sp>
      <p:sp>
        <p:nvSpPr>
          <p:cNvPr id="13" name="正方形/長方形 12">
            <a:extLst>
              <a:ext uri="{FF2B5EF4-FFF2-40B4-BE49-F238E27FC236}">
                <a16:creationId xmlns:a16="http://schemas.microsoft.com/office/drawing/2014/main" id="{4F8CF523-042E-B68E-BE63-2DBEC5F6560A}"/>
              </a:ext>
            </a:extLst>
          </p:cNvPr>
          <p:cNvSpPr/>
          <p:nvPr/>
        </p:nvSpPr>
        <p:spPr bwMode="auto">
          <a:xfrm>
            <a:off x="1221738" y="762637"/>
            <a:ext cx="2700000" cy="396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に係る事業費全体や内数としての補助対象経費の額を記載</a:t>
            </a:r>
          </a:p>
        </p:txBody>
      </p:sp>
      <p:sp>
        <p:nvSpPr>
          <p:cNvPr id="29" name="正方形/長方形 28">
            <a:extLst>
              <a:ext uri="{FF2B5EF4-FFF2-40B4-BE49-F238E27FC236}">
                <a16:creationId xmlns:a16="http://schemas.microsoft.com/office/drawing/2014/main" id="{A86E5D5F-6AE3-C475-D974-D3DE735CE84E}"/>
              </a:ext>
            </a:extLst>
          </p:cNvPr>
          <p:cNvSpPr/>
          <p:nvPr/>
        </p:nvSpPr>
        <p:spPr bwMode="auto">
          <a:xfrm>
            <a:off x="1221738" y="1222671"/>
            <a:ext cx="2700000" cy="2772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人材・組織育成の内容および手法について、具体的な内容や、関与する関係者を含めて記載</a:t>
            </a:r>
          </a:p>
        </p:txBody>
      </p:sp>
      <p:sp>
        <p:nvSpPr>
          <p:cNvPr id="31" name="正方形/長方形 30">
            <a:extLst>
              <a:ext uri="{FF2B5EF4-FFF2-40B4-BE49-F238E27FC236}">
                <a16:creationId xmlns:a16="http://schemas.microsoft.com/office/drawing/2014/main" id="{FC9AAC06-B512-18B7-A930-FB1DE7B66039}"/>
              </a:ext>
            </a:extLst>
          </p:cNvPr>
          <p:cNvSpPr/>
          <p:nvPr/>
        </p:nvSpPr>
        <p:spPr bwMode="auto">
          <a:xfrm>
            <a:off x="1221738" y="4049755"/>
            <a:ext cx="2700000" cy="2124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により期待される定性・定量</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効果を記載</a:t>
            </a:r>
          </a:p>
        </p:txBody>
      </p:sp>
      <p:sp>
        <p:nvSpPr>
          <p:cNvPr id="32" name="正方形/長方形 31">
            <a:extLst>
              <a:ext uri="{FF2B5EF4-FFF2-40B4-BE49-F238E27FC236}">
                <a16:creationId xmlns:a16="http://schemas.microsoft.com/office/drawing/2014/main" id="{EFFFF08E-72D1-C8A9-1A8F-FA8EF2D3DCE1}"/>
              </a:ext>
            </a:extLst>
          </p:cNvPr>
          <p:cNvSpPr/>
          <p:nvPr/>
        </p:nvSpPr>
        <p:spPr bwMode="auto">
          <a:xfrm>
            <a:off x="4030958" y="4049755"/>
            <a:ext cx="5040000" cy="2124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lvl="0" defTabSz="906146">
              <a:defRPr/>
            </a:pPr>
            <a:r>
              <a:rPr lang="ja-JP" altLang="en-US" sz="1300">
                <a:latin typeface="Meiryo UI" panose="020B0604030504040204" pitchFamily="50" charset="-128"/>
                <a:ea typeface="Meiryo UI" panose="020B0604030504040204" pitchFamily="50" charset="-128"/>
              </a:rPr>
              <a:t>①地方公共団体の業務効率化、負担低減</a:t>
            </a:r>
            <a:endParaRPr lang="en-US" altLang="ja-JP" sz="1300">
              <a:latin typeface="Meiryo UI" panose="020B0604030504040204" pitchFamily="50" charset="-128"/>
              <a:ea typeface="Meiryo UI" panose="020B0604030504040204" pitchFamily="50" charset="-128"/>
            </a:endParaRPr>
          </a:p>
          <a:p>
            <a:pPr lvl="0" defTabSz="906146">
              <a:defRPr/>
            </a:pPr>
            <a:r>
              <a:rPr lang="ja-JP" altLang="en-US" sz="1300">
                <a:latin typeface="Meiryo UI" panose="020B0604030504040204" pitchFamily="50" charset="-128"/>
                <a:ea typeface="Meiryo UI" panose="020B0604030504040204" pitchFamily="50" charset="-128"/>
              </a:rPr>
              <a:t>　地域公共交通の</a:t>
            </a:r>
            <a:r>
              <a:rPr lang="en-US" altLang="ja-JP" sz="1300">
                <a:latin typeface="Meiryo UI" panose="020B0604030504040204" pitchFamily="50" charset="-128"/>
                <a:ea typeface="Meiryo UI" panose="020B0604030504040204" pitchFamily="50" charset="-128"/>
              </a:rPr>
              <a:t>PDCA</a:t>
            </a:r>
            <a:r>
              <a:rPr lang="ja-JP" altLang="en-US" sz="1300">
                <a:latin typeface="Meiryo UI" panose="020B0604030504040204" pitchFamily="50" charset="-128"/>
                <a:ea typeface="Meiryo UI" panose="020B0604030504040204" pitchFamily="50" charset="-128"/>
              </a:rPr>
              <a:t>サイクルの迅速化やノウハウや基礎的な知識の取得を通じたスキルの底上げによる業務の効率化等により、交通政策担当者の業務時間が○○％減少する。</a:t>
            </a:r>
            <a:endParaRPr lang="en-US" altLang="ja-JP" sz="1300">
              <a:latin typeface="Meiryo UI" panose="020B0604030504040204" pitchFamily="50" charset="-128"/>
              <a:ea typeface="Meiryo UI" panose="020B0604030504040204" pitchFamily="50" charset="-128"/>
            </a:endParaRPr>
          </a:p>
          <a:p>
            <a:pPr lvl="0" defTabSz="906146">
              <a:defRPr/>
            </a:pPr>
            <a:r>
              <a:rPr lang="ja-JP" altLang="en-US" sz="1300">
                <a:latin typeface="Meiryo UI" panose="020B0604030504040204" pitchFamily="50" charset="-128"/>
                <a:ea typeface="Meiryo UI" panose="020B0604030504040204" pitchFamily="50" charset="-128"/>
              </a:rPr>
              <a:t>②効率化による地域公共交通業務の拡大</a:t>
            </a:r>
            <a:endParaRPr lang="en-US" altLang="ja-JP" sz="1300">
              <a:latin typeface="Meiryo UI" panose="020B0604030504040204" pitchFamily="50" charset="-128"/>
              <a:ea typeface="Meiryo UI" panose="020B0604030504040204" pitchFamily="50" charset="-128"/>
            </a:endParaRPr>
          </a:p>
          <a:p>
            <a:pPr lvl="0" defTabSz="906146">
              <a:defRPr/>
            </a:pPr>
            <a:r>
              <a:rPr lang="ja-JP" altLang="en-US" sz="1300">
                <a:latin typeface="Meiryo UI" panose="020B0604030504040204" pitchFamily="50" charset="-128"/>
                <a:ea typeface="Meiryo UI" panose="020B0604030504040204" pitchFamily="50" charset="-128"/>
              </a:rPr>
              <a:t>　地域公共交通計画に記載されているが、体制不足で実施できなかった新たなデマンド交通の実証運行やデータを活用した他分野との連携、緊急時の対応等の迅速な施策運営が可能となる。</a:t>
            </a:r>
            <a:endParaRPr lang="en-US" altLang="ja-JP" sz="1300">
              <a:latin typeface="Meiryo UI" panose="020B0604030504040204" pitchFamily="50" charset="-128"/>
              <a:ea typeface="Meiryo UI" panose="020B0604030504040204" pitchFamily="50" charset="-128"/>
            </a:endParaRPr>
          </a:p>
          <a:p>
            <a:pPr lvl="0" defTabSz="906146">
              <a:defRPr/>
            </a:pPr>
            <a:r>
              <a:rPr lang="ja-JP" altLang="en-US" sz="1300">
                <a:latin typeface="Meiryo UI" panose="020B0604030504040204" pitchFamily="50" charset="-128"/>
                <a:ea typeface="Meiryo UI" panose="020B0604030504040204" pitchFamily="50" charset="-128"/>
              </a:rPr>
              <a:t>③地域のネットワーク再編・結節強化により、利用者の待ち時間短縮や実車率の改善につながり、利便性の向上を見込むことができる。</a:t>
            </a:r>
            <a:endParaRPr lang="en-US" altLang="ja-JP" sz="1300">
              <a:latin typeface="Meiryo UI" panose="020B0604030504040204" pitchFamily="50" charset="-128"/>
              <a:ea typeface="Meiryo UI" panose="020B0604030504040204" pitchFamily="50" charset="-128"/>
            </a:endParaRPr>
          </a:p>
          <a:p>
            <a:pPr lvl="0" defTabSz="906146">
              <a:defRPr/>
            </a:pPr>
            <a:r>
              <a:rPr lang="ja-JP" altLang="en-US" sz="1300">
                <a:latin typeface="Meiryo UI" panose="020B0604030504040204" pitchFamily="50" charset="-128"/>
                <a:ea typeface="Meiryo UI" panose="020B0604030504040204" pitchFamily="50" charset="-128"/>
              </a:rPr>
              <a:t>④他の圏域、市町村での水平展開を行い、「交通空白」の解消に資する。</a:t>
            </a:r>
            <a:endParaRPr lang="en-US" altLang="ja-JP" sz="1300">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42F7121C-581F-0FB0-6C4F-29DF0E3BCD33}"/>
              </a:ext>
            </a:extLst>
          </p:cNvPr>
          <p:cNvSpPr/>
          <p:nvPr/>
        </p:nvSpPr>
        <p:spPr bwMode="auto">
          <a:xfrm>
            <a:off x="80962" y="1222671"/>
            <a:ext cx="1116000" cy="2772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概要</a:t>
            </a:r>
          </a:p>
        </p:txBody>
      </p:sp>
      <p:sp>
        <p:nvSpPr>
          <p:cNvPr id="41" name="正方形/長方形 40">
            <a:extLst>
              <a:ext uri="{FF2B5EF4-FFF2-40B4-BE49-F238E27FC236}">
                <a16:creationId xmlns:a16="http://schemas.microsoft.com/office/drawing/2014/main" id="{8AFDBBFF-3B95-FF9C-C99A-4B83C4111EAB}"/>
              </a:ext>
            </a:extLst>
          </p:cNvPr>
          <p:cNvSpPr/>
          <p:nvPr/>
        </p:nvSpPr>
        <p:spPr bwMode="auto">
          <a:xfrm>
            <a:off x="80962" y="4049755"/>
            <a:ext cx="1116000" cy="2124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見込まれる</a:t>
            </a:r>
            <a:endParaRPr lang="en-US" altLang="ja-JP" sz="1400" b="1">
              <a:solidFill>
                <a:schemeClr val="bg1"/>
              </a:solidFill>
              <a:latin typeface="Meiryo UI" panose="020B0604030504040204" pitchFamily="50" charset="-128"/>
              <a:ea typeface="Meiryo UI" panose="020B0604030504040204" pitchFamily="50" charset="-128"/>
            </a:endParaRPr>
          </a:p>
          <a:p>
            <a:pPr algn="ctr"/>
            <a:r>
              <a:rPr lang="ja-JP" altLang="en-US" sz="1400" b="1">
                <a:solidFill>
                  <a:schemeClr val="bg1"/>
                </a:solidFill>
                <a:latin typeface="Meiryo UI" panose="020B0604030504040204" pitchFamily="50" charset="-128"/>
                <a:ea typeface="Meiryo UI" panose="020B0604030504040204" pitchFamily="50" charset="-128"/>
              </a:rPr>
              <a:t>事業効果</a:t>
            </a:r>
          </a:p>
        </p:txBody>
      </p:sp>
      <p:sp>
        <p:nvSpPr>
          <p:cNvPr id="7" name="タイトル 1">
            <a:extLst>
              <a:ext uri="{FF2B5EF4-FFF2-40B4-BE49-F238E27FC236}">
                <a16:creationId xmlns:a16="http://schemas.microsoft.com/office/drawing/2014/main" id="{687E60B2-1634-3B3F-E02C-A944E0C79D7D}"/>
              </a:ext>
            </a:extLst>
          </p:cNvPr>
          <p:cNvSpPr txBox="1">
            <a:spLocks/>
          </p:cNvSpPr>
          <p:nvPr/>
        </p:nvSpPr>
        <p:spPr>
          <a:xfrm>
            <a:off x="0" y="-324"/>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応募様式アに係る記載項目の説明 （</a:t>
            </a:r>
            <a:r>
              <a:rPr lang="en-US" altLang="ja-JP" sz="2400" kern="0">
                <a:latin typeface="HGP創英角ｺﾞｼｯｸUB"/>
                <a:ea typeface="HGP創英角ｺﾞｼｯｸUB"/>
              </a:rPr>
              <a:t>2</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2</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endPar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p:txBody>
      </p:sp>
      <p:sp>
        <p:nvSpPr>
          <p:cNvPr id="9" name="正方形/長方形 8">
            <a:extLst>
              <a:ext uri="{FF2B5EF4-FFF2-40B4-BE49-F238E27FC236}">
                <a16:creationId xmlns:a16="http://schemas.microsoft.com/office/drawing/2014/main" id="{DE5D045B-62BC-21DC-2FFE-5DBF975FCDFD}"/>
              </a:ext>
            </a:extLst>
          </p:cNvPr>
          <p:cNvSpPr/>
          <p:nvPr/>
        </p:nvSpPr>
        <p:spPr bwMode="auto">
          <a:xfrm>
            <a:off x="4030958" y="6213939"/>
            <a:ext cx="5040000" cy="612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latin typeface="HGP創英角ｺﾞｼｯｸUB"/>
                <a:ea typeface="Meiryo UI" panose="020B0604030504040204" pitchFamily="50" charset="-128"/>
              </a:rPr>
              <a:t>事業主体：</a:t>
            </a:r>
            <a:r>
              <a:rPr lang="en-US" altLang="ja-JP" sz="1400">
                <a:latin typeface="HGP創英角ｺﾞｼｯｸUB"/>
                <a:ea typeface="Meiryo UI" panose="020B0604030504040204" pitchFamily="50" charset="-128"/>
              </a:rPr>
              <a:t>XX</a:t>
            </a:r>
            <a:r>
              <a:rPr lang="ja-JP" altLang="en-US" sz="1400">
                <a:latin typeface="HGP創英角ｺﾞｼｯｸUB"/>
                <a:ea typeface="Meiryo UI" panose="020B0604030504040204" pitchFamily="50" charset="-128"/>
              </a:rPr>
              <a:t>圏域</a:t>
            </a:r>
            <a:r>
              <a:rPr lang="en-US" altLang="ja-JP" sz="1400">
                <a:latin typeface="HGP創英角ｺﾞｼｯｸUB"/>
                <a:ea typeface="Meiryo UI" panose="020B0604030504040204" pitchFamily="50" charset="-128"/>
              </a:rPr>
              <a:t>5</a:t>
            </a:r>
            <a:r>
              <a:rPr lang="ja-JP" altLang="en-US" sz="1400">
                <a:latin typeface="HGP創英角ｺﾞｼｯｸUB"/>
                <a:ea typeface="Meiryo UI" panose="020B0604030504040204" pitchFamily="50" charset="-128"/>
              </a:rPr>
              <a:t>市町村</a:t>
            </a:r>
            <a:br>
              <a:rPr lang="en-US" altLang="ja-JP" sz="1400">
                <a:latin typeface="HGP創英角ｺﾞｼｯｸUB"/>
                <a:ea typeface="Meiryo UI" panose="020B0604030504040204" pitchFamily="50" charset="-128"/>
              </a:rPr>
            </a:br>
            <a:r>
              <a:rPr lang="ja-JP" altLang="en-US" sz="1400">
                <a:latin typeface="HGP創英角ｺﾞｼｯｸUB"/>
                <a:ea typeface="Meiryo UI" panose="020B0604030504040204" pitchFamily="50" charset="-128"/>
              </a:rPr>
              <a:t> 　　　　　　　（</a:t>
            </a:r>
            <a:r>
              <a:rPr lang="en-US" altLang="ja-JP" sz="1400">
                <a:latin typeface="HGP創英角ｺﾞｼｯｸUB"/>
                <a:ea typeface="Meiryo UI" panose="020B0604030504040204" pitchFamily="50" charset="-128"/>
              </a:rPr>
              <a:t>XX</a:t>
            </a:r>
            <a:r>
              <a:rPr lang="ja-JP" altLang="en-US" sz="1400">
                <a:latin typeface="HGP創英角ｺﾞｼｯｸUB"/>
                <a:ea typeface="Meiryo UI" panose="020B0604030504040204" pitchFamily="50" charset="-128"/>
              </a:rPr>
              <a:t>市、</a:t>
            </a:r>
            <a:r>
              <a:rPr lang="en-US" altLang="ja-JP" sz="1400">
                <a:latin typeface="HGP創英角ｺﾞｼｯｸUB"/>
                <a:ea typeface="Meiryo UI" panose="020B0604030504040204" pitchFamily="50" charset="-128"/>
              </a:rPr>
              <a:t>XX</a:t>
            </a:r>
            <a:r>
              <a:rPr lang="ja-JP" altLang="en-US" sz="1400">
                <a:latin typeface="HGP創英角ｺﾞｼｯｸUB"/>
                <a:ea typeface="Meiryo UI" panose="020B0604030504040204" pitchFamily="50" charset="-128"/>
              </a:rPr>
              <a:t>市、</a:t>
            </a:r>
            <a:r>
              <a:rPr lang="en-US" altLang="ja-JP" sz="1400">
                <a:latin typeface="HGP創英角ｺﾞｼｯｸUB"/>
                <a:ea typeface="Meiryo UI" panose="020B0604030504040204" pitchFamily="50" charset="-128"/>
              </a:rPr>
              <a:t>XX</a:t>
            </a:r>
            <a:r>
              <a:rPr lang="ja-JP" altLang="en-US" sz="1400">
                <a:latin typeface="HGP創英角ｺﾞｼｯｸUB"/>
                <a:ea typeface="Meiryo UI" panose="020B0604030504040204" pitchFamily="50" charset="-128"/>
              </a:rPr>
              <a:t>町、</a:t>
            </a:r>
            <a:r>
              <a:rPr lang="en-US" altLang="ja-JP" sz="1400">
                <a:latin typeface="HGP創英角ｺﾞｼｯｸUB"/>
                <a:ea typeface="Meiryo UI" panose="020B0604030504040204" pitchFamily="50" charset="-128"/>
              </a:rPr>
              <a:t>XX</a:t>
            </a:r>
            <a:r>
              <a:rPr lang="ja-JP" altLang="en-US" sz="1400">
                <a:latin typeface="HGP創英角ｺﾞｼｯｸUB"/>
                <a:ea typeface="Meiryo UI" panose="020B0604030504040204" pitchFamily="50" charset="-128"/>
              </a:rPr>
              <a:t>町、</a:t>
            </a:r>
            <a:r>
              <a:rPr lang="en-US" altLang="ja-JP" sz="1400">
                <a:latin typeface="HGP創英角ｺﾞｼｯｸUB"/>
                <a:ea typeface="Meiryo UI" panose="020B0604030504040204" pitchFamily="50" charset="-128"/>
              </a:rPr>
              <a:t>XX</a:t>
            </a:r>
            <a:r>
              <a:rPr lang="ja-JP" altLang="en-US" sz="1400">
                <a:latin typeface="HGP創英角ｺﾞｼｯｸUB"/>
                <a:ea typeface="Meiryo UI" panose="020B0604030504040204" pitchFamily="50" charset="-128"/>
              </a:rPr>
              <a:t>村）</a:t>
            </a:r>
            <a:endParaRPr lang="en-US" altLang="ja-JP" sz="1400">
              <a:latin typeface="HGP創英角ｺﾞｼｯｸUB"/>
              <a:ea typeface="Meiryo UI" panose="020B0604030504040204" pitchFamily="50" charset="-128"/>
            </a:endParaRPr>
          </a:p>
          <a:p>
            <a:pPr marL="285750" indent="-285750">
              <a:buFont typeface="Wingdings" panose="05000000000000000000" pitchFamily="2" charset="2"/>
              <a:buChar char="Ø"/>
            </a:pPr>
            <a:r>
              <a:rPr lang="ja-JP" altLang="en-US" sz="1400">
                <a:latin typeface="HGP創英角ｺﾞｼｯｸUB"/>
                <a:ea typeface="Meiryo UI" panose="020B0604030504040204" pitchFamily="50" charset="-128"/>
              </a:rPr>
              <a:t>業務委託先：</a:t>
            </a:r>
            <a:r>
              <a:rPr lang="en-US" altLang="ja-JP" sz="1400">
                <a:latin typeface="HGP創英角ｺﾞｼｯｸUB"/>
                <a:ea typeface="Meiryo UI" panose="020B0604030504040204" pitchFamily="50" charset="-128"/>
              </a:rPr>
              <a:t>XX</a:t>
            </a:r>
            <a:r>
              <a:rPr lang="ja-JP" altLang="en-US" sz="1400">
                <a:latin typeface="HGP創英角ｺﾞｼｯｸUB"/>
                <a:ea typeface="Meiryo UI" panose="020B0604030504040204" pitchFamily="50" charset="-128"/>
              </a:rPr>
              <a:t>大学（講師）</a:t>
            </a:r>
            <a:endParaRPr lang="en-US" altLang="ja-JP" sz="1400">
              <a:latin typeface="HGP創英角ｺﾞｼｯｸUB"/>
              <a:ea typeface="Meiryo UI" panose="020B0604030504040204" pitchFamily="50" charset="-128"/>
            </a:endParaRPr>
          </a:p>
        </p:txBody>
      </p:sp>
      <p:sp>
        <p:nvSpPr>
          <p:cNvPr id="23" name="正方形/長方形 22">
            <a:extLst>
              <a:ext uri="{FF2B5EF4-FFF2-40B4-BE49-F238E27FC236}">
                <a16:creationId xmlns:a16="http://schemas.microsoft.com/office/drawing/2014/main" id="{2D78B4C1-2A7D-3131-ECA6-4F889511590E}"/>
              </a:ext>
            </a:extLst>
          </p:cNvPr>
          <p:cNvSpPr/>
          <p:nvPr/>
        </p:nvSpPr>
        <p:spPr bwMode="auto">
          <a:xfrm>
            <a:off x="1221738" y="6213940"/>
            <a:ext cx="2700000" cy="61200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を実施する体制や</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組織の関係性を記載</a:t>
            </a:r>
          </a:p>
        </p:txBody>
      </p:sp>
      <p:sp>
        <p:nvSpPr>
          <p:cNvPr id="24" name="正方形/長方形 23">
            <a:extLst>
              <a:ext uri="{FF2B5EF4-FFF2-40B4-BE49-F238E27FC236}">
                <a16:creationId xmlns:a16="http://schemas.microsoft.com/office/drawing/2014/main" id="{F0ECE2E0-9DA1-AE52-FA9B-0853F16A1902}"/>
              </a:ext>
            </a:extLst>
          </p:cNvPr>
          <p:cNvSpPr/>
          <p:nvPr/>
        </p:nvSpPr>
        <p:spPr bwMode="auto">
          <a:xfrm>
            <a:off x="80962" y="6213940"/>
            <a:ext cx="1116000" cy="612000"/>
          </a:xfrm>
          <a:prstGeom prst="rect">
            <a:avLst/>
          </a:prstGeom>
          <a:solidFill>
            <a:srgbClr val="98CE5A"/>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実施体制</a:t>
            </a:r>
          </a:p>
        </p:txBody>
      </p:sp>
    </p:spTree>
    <p:extLst>
      <p:ext uri="{BB962C8B-B14F-4D97-AF65-F5344CB8AC3E}">
        <p14:creationId xmlns:p14="http://schemas.microsoft.com/office/powerpoint/2010/main" val="19427323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76a8867-8b72-4914-890a-d2f9a5d03d9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7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5_テーマ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C000"/>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1"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1" lang="ja-JP" sz="1200" b="0" i="0" u="none" strike="noStrike" cap="none" normalizeH="0" baseline="0" smtClean="0">
            <a:ln>
              <a:noFill/>
            </a:ln>
            <a:solidFill>
              <a:schemeClr val="tx1"/>
            </a:solidFill>
            <a:effectLst/>
            <a:latin typeface="Arial" charset="0"/>
            <a:ea typeface="ＭＳ Ｐゴシック" charset="-128"/>
          </a:defRPr>
        </a:defPPr>
      </a:lstStyle>
    </a:lnDef>
    <a:txDef>
      <a:spPr>
        <a:solidFill>
          <a:srgbClr val="9BDFF7"/>
        </a:solidFill>
      </a:spPr>
      <a:bodyPr wrap="square" rtlCol="0">
        <a:spAutoFit/>
      </a:bodyPr>
      <a:lstStyle>
        <a:defPPr>
          <a:defRPr kumimoji="1" dirty="0"/>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b4221ca-b317-4641-bcdb-0a99689d23c0" xsi:nil="true"/>
    <lcf76f155ced4ddcb4097134ff3c332f xmlns="4723d968-f0b8-4d62-af89-211c323e6669">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B91165B838C12B47B56D79545C51D09B" ma:contentTypeVersion="10" ma:contentTypeDescription="新しいドキュメントを作成します。" ma:contentTypeScope="" ma:versionID="b5475722f109dce3b5d4d32791aaa202">
  <xsd:schema xmlns:xsd="http://www.w3.org/2001/XMLSchema" xmlns:xs="http://www.w3.org/2001/XMLSchema" xmlns:p="http://schemas.microsoft.com/office/2006/metadata/properties" xmlns:ns2="4723d968-f0b8-4d62-af89-211c323e6669" xmlns:ns3="7b4221ca-b317-4641-bcdb-0a99689d23c0" targetNamespace="http://schemas.microsoft.com/office/2006/metadata/properties" ma:root="true" ma:fieldsID="3a00dc953f3e6d8847d15c7a245bf619" ns2:_="" ns3:_="">
    <xsd:import namespace="4723d968-f0b8-4d62-af89-211c323e6669"/>
    <xsd:import namespace="7b4221ca-b317-4641-bcdb-0a99689d23c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23d968-f0b8-4d62-af89-211c323e66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ecc07328-3708-455b-b2f3-7a2a0a8af08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4221ca-b317-4641-bcdb-0a99689d23c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0c7cc09-dfe3-4c91-89c4-0096a3abf2d6}" ma:internalName="TaxCatchAll" ma:showField="CatchAllData" ma:web="7b4221ca-b317-4641-bcdb-0a99689d23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8EC489-26F0-4AD0-8C07-F7D954B2C82F}">
  <ds:schemaRefs>
    <ds:schemaRef ds:uri="http://purl.org/dc/elements/1.1/"/>
    <ds:schemaRef ds:uri="http://purl.org/dc/terms/"/>
    <ds:schemaRef ds:uri="http://www.w3.org/XML/1998/namespace"/>
    <ds:schemaRef ds:uri="http://schemas.openxmlformats.org/package/2006/metadata/core-properties"/>
    <ds:schemaRef ds:uri="http://schemas.microsoft.com/office/2006/metadata/properties"/>
    <ds:schemaRef ds:uri="http://schemas.microsoft.com/office/infopath/2007/PartnerControls"/>
    <ds:schemaRef ds:uri="http://schemas.microsoft.com/office/2006/documentManagement/types"/>
    <ds:schemaRef ds:uri="7b4221ca-b317-4641-bcdb-0a99689d23c0"/>
    <ds:schemaRef ds:uri="4723d968-f0b8-4d62-af89-211c323e6669"/>
    <ds:schemaRef ds:uri="http://purl.org/dc/dcmitype/"/>
  </ds:schemaRefs>
</ds:datastoreItem>
</file>

<file path=customXml/itemProps2.xml><?xml version="1.0" encoding="utf-8"?>
<ds:datastoreItem xmlns:ds="http://schemas.openxmlformats.org/officeDocument/2006/customXml" ds:itemID="{38E43B65-EA7C-43F5-ACAF-DEB0B62AFF36}">
  <ds:schemaRefs>
    <ds:schemaRef ds:uri="http://schemas.microsoft.com/sharepoint/v3/contenttype/forms"/>
  </ds:schemaRefs>
</ds:datastoreItem>
</file>

<file path=customXml/itemProps3.xml><?xml version="1.0" encoding="utf-8"?>
<ds:datastoreItem xmlns:ds="http://schemas.openxmlformats.org/officeDocument/2006/customXml" ds:itemID="{6E0F800B-BAD6-4AB3-B295-A8C7450BF6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23d968-f0b8-4d62-af89-211c323e6669"/>
    <ds:schemaRef ds:uri="7b4221ca-b317-4641-bcdb-0a99689d23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51</TotalTime>
  <Words>3270</Words>
  <Application>Microsoft Office PowerPoint</Application>
  <PresentationFormat>画面に合わせる (4:3)</PresentationFormat>
  <Paragraphs>258</Paragraphs>
  <Slides>11</Slides>
  <Notes>2</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11</vt:i4>
      </vt:variant>
    </vt:vector>
  </HeadingPairs>
  <TitlesOfParts>
    <vt:vector size="20" baseType="lpstr">
      <vt:lpstr>HGP創英角ｺﾞｼｯｸUB</vt:lpstr>
      <vt:lpstr>Meiryo UI</vt:lpstr>
      <vt:lpstr>Arial</vt:lpstr>
      <vt:lpstr>Calibri</vt:lpstr>
      <vt:lpstr>Times New Roman</vt:lpstr>
      <vt:lpstr>Wingdings</vt:lpstr>
      <vt:lpstr>17_標準デザイン</vt:lpstr>
      <vt:lpstr>5_テーマ1</vt:lpstr>
      <vt:lpstr>think-cellスライド</vt:lpstr>
      <vt:lpstr>応募様式ア</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モビリティ人材・組織育成タイプ_応募様式ア</dc:title>
  <dc:creator/>
  <cp:lastModifiedBy>Kato, Masahiro 4</cp:lastModifiedBy>
  <cp:revision>3</cp:revision>
  <cp:lastPrinted>2026-02-25T12:17:04Z</cp:lastPrinted>
  <dcterms:created xsi:type="dcterms:W3CDTF">2024-07-03T01:58:58Z</dcterms:created>
  <dcterms:modified xsi:type="dcterms:W3CDTF">2026-02-27T01:0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1165B838C12B47B56D79545C51D09B</vt:lpwstr>
  </property>
  <property fmtid="{D5CDD505-2E9C-101B-9397-08002B2CF9AE}" pid="3" name="MediaServiceImageTags">
    <vt:lpwstr/>
  </property>
</Properties>
</file>